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9" r:id="rId5"/>
    <p:sldMasterId id="2147483773" r:id="rId6"/>
    <p:sldMasterId id="2147483789" r:id="rId7"/>
  </p:sldMasterIdLst>
  <p:notesMasterIdLst>
    <p:notesMasterId r:id="rId40"/>
  </p:notesMasterIdLst>
  <p:handoutMasterIdLst>
    <p:handoutMasterId r:id="rId41"/>
  </p:handoutMasterIdLst>
  <p:sldIdLst>
    <p:sldId id="2147474187" r:id="rId8"/>
    <p:sldId id="2147474223" r:id="rId9"/>
    <p:sldId id="2147474225" r:id="rId10"/>
    <p:sldId id="2147474204" r:id="rId11"/>
    <p:sldId id="2147474193" r:id="rId12"/>
    <p:sldId id="2147474196" r:id="rId13"/>
    <p:sldId id="2147474197" r:id="rId14"/>
    <p:sldId id="2147474195" r:id="rId15"/>
    <p:sldId id="2147474198" r:id="rId16"/>
    <p:sldId id="2147474199" r:id="rId17"/>
    <p:sldId id="2147474200" r:id="rId18"/>
    <p:sldId id="2147474201" r:id="rId19"/>
    <p:sldId id="2147474202" r:id="rId20"/>
    <p:sldId id="2147474205" r:id="rId21"/>
    <p:sldId id="2147474206" r:id="rId22"/>
    <p:sldId id="2147474207" r:id="rId23"/>
    <p:sldId id="2147474208" r:id="rId24"/>
    <p:sldId id="2147474203" r:id="rId25"/>
    <p:sldId id="2147474209" r:id="rId26"/>
    <p:sldId id="2147474210" r:id="rId27"/>
    <p:sldId id="2147474212" r:id="rId28"/>
    <p:sldId id="2147474224" r:id="rId29"/>
    <p:sldId id="2147474213" r:id="rId30"/>
    <p:sldId id="2147474214" r:id="rId31"/>
    <p:sldId id="2147474211" r:id="rId32"/>
    <p:sldId id="2147474215" r:id="rId33"/>
    <p:sldId id="2147474216" r:id="rId34"/>
    <p:sldId id="2147474217" r:id="rId35"/>
    <p:sldId id="2147474218" r:id="rId36"/>
    <p:sldId id="2147474219" r:id="rId37"/>
    <p:sldId id="2147474220" r:id="rId38"/>
    <p:sldId id="2147474221" r:id="rId39"/>
  </p:sldIdLst>
  <p:sldSz cx="12192000" cy="6858000"/>
  <p:notesSz cx="6858000" cy="9144000"/>
  <p:custDataLst>
    <p:tags r:id="rId4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6FF1A22-EF6D-1580-899D-78187732ECE5}" name="Sirtan Zaefferer" initials="SZ" userId="S::sirtan.zaefferer@alexanderthamm.com::89adf798-a9e0-4ee2-b8f0-bee0eb8466fa" providerId="AD"/>
  <p188:author id="{A2DFF495-F322-1573-37D1-A4BADE8F3DF0}" name="Verena Gruber" initials="VG" userId="S::Verena.Gruber@alexanderthamm.com::c3a1c22e-4d95-41e3-9c35-c14f6bbd24c0" providerId="AD"/>
  <p188:author id="{481A38B3-3E42-F488-4621-1BA19DEC74BA}" name="Dr. Yannik Bauer" initials="YB" userId="S::yannik.bauer@alexanderthamm.com::63c526f0-fb0a-4d63-9994-040861300752" providerId="AD"/>
  <p188:author id="{DB2CC3B3-642B-82F3-88A1-17CEF8669BCF}" name="Brijesh Modasara" initials="BM" userId="S::brijesh.modasara@alexanderthamm.com::8febf157-2cb9-4fa2-9149-3386b11c4a63" providerId="AD"/>
  <p188:author id="{701D7AE1-6F04-C1D3-C792-9DB8E0D635DC}" name="Dr. Philipp Schwartenbeck" initials="PS" userId="S::p.schwartenbeck@alexanderthamm.com::75cb2592-e3eb-4a8b-a63b-7f57a1a2b71d" providerId="AD"/>
  <p188:author id="{2CCD69EC-6D30-CFEC-E7B9-EA240986846B}" name="Constantin Sanders" initials="CS" userId="S::constantin.sanders@alexanderthamm.com::2be8da2e-9d15-485d-9788-c71b013357e0" providerId="AD"/>
  <p188:author id="{6A9E8CFF-A3A8-C78C-F5D6-B62ADD2CDDAA}" name="Alexander Zap" initials="AZ" userId="S::alexander.zap@alexanderthamm.com::a7da462d-dcce-4fac-877b-2514b43c9ee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7323"/>
    <a:srgbClr val="FF6611"/>
    <a:srgbClr val="730BF7"/>
    <a:srgbClr val="945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AE733F7-683B-4AED-8EAC-2202FBFCBABB}" v="32" dt="2023-10-10T05:52:38.3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–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74" autoAdjust="0"/>
    <p:restoredTop sz="92847" autoAdjust="0"/>
  </p:normalViewPr>
  <p:slideViewPr>
    <p:cSldViewPr snapToGrid="0">
      <p:cViewPr>
        <p:scale>
          <a:sx n="66" d="100"/>
          <a:sy n="66" d="100"/>
        </p:scale>
        <p:origin x="32" y="-3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tags" Target="tags/tag1.xml"/><Relationship Id="rId47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microsoft.com/office/2018/10/relationships/authors" Target="author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tableStyles" Target="tableStyles.xml"/><Relationship Id="rId20" Type="http://schemas.openxmlformats.org/officeDocument/2006/relationships/slide" Target="slides/slide13.xml"/><Relationship Id="rId41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er Zap" userId="a7da462d-dcce-4fac-877b-2514b43c9eed" providerId="ADAL" clId="{9AE733F7-683B-4AED-8EAC-2202FBFCBABB}"/>
    <pc:docChg chg="undo custSel addSld delSld modSld sldOrd">
      <pc:chgData name="Alexander Zap" userId="a7da462d-dcce-4fac-877b-2514b43c9eed" providerId="ADAL" clId="{9AE733F7-683B-4AED-8EAC-2202FBFCBABB}" dt="2023-10-10T05:52:26.199" v="655" actId="113"/>
      <pc:docMkLst>
        <pc:docMk/>
      </pc:docMkLst>
      <pc:sldChg chg="del">
        <pc:chgData name="Alexander Zap" userId="a7da462d-dcce-4fac-877b-2514b43c9eed" providerId="ADAL" clId="{9AE733F7-683B-4AED-8EAC-2202FBFCBABB}" dt="2023-10-08T15:55:54.597" v="127" actId="2696"/>
        <pc:sldMkLst>
          <pc:docMk/>
          <pc:sldMk cId="2026415032" sldId="257"/>
        </pc:sldMkLst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838046128" sldId="575"/>
        </pc:sldMkLst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1330262203" sldId="2147380583"/>
        </pc:sldMkLst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1497516128" sldId="2147380589"/>
        </pc:sldMkLst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2687979824" sldId="2147380591"/>
        </pc:sldMkLst>
      </pc:sldChg>
      <pc:sldChg chg="modSp add del mod">
        <pc:chgData name="Alexander Zap" userId="a7da462d-dcce-4fac-877b-2514b43c9eed" providerId="ADAL" clId="{9AE733F7-683B-4AED-8EAC-2202FBFCBABB}" dt="2023-10-08T15:42:02.108" v="7" actId="2696"/>
        <pc:sldMkLst>
          <pc:docMk/>
          <pc:sldMk cId="4039674106" sldId="2147380592"/>
        </pc:sldMkLst>
        <pc:picChg chg="mod">
          <ac:chgData name="Alexander Zap" userId="a7da462d-dcce-4fac-877b-2514b43c9eed" providerId="ADAL" clId="{9AE733F7-683B-4AED-8EAC-2202FBFCBABB}" dt="2023-10-08T15:40:51.537" v="4" actId="1076"/>
          <ac:picMkLst>
            <pc:docMk/>
            <pc:sldMk cId="4039674106" sldId="2147380592"/>
            <ac:picMk id="11" creationId="{E1EDD4C7-67CA-60A1-0D1F-00A8241F6380}"/>
          </ac:picMkLst>
        </pc:picChg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529223583" sldId="2147380594"/>
        </pc:sldMkLst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1921942787" sldId="2147380630"/>
        </pc:sldMkLst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632928928" sldId="2147474142"/>
        </pc:sldMkLst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3843930274" sldId="2147474157"/>
        </pc:sldMkLst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2602519265" sldId="2147474158"/>
        </pc:sldMkLst>
      </pc:sldChg>
      <pc:sldChg chg="add del">
        <pc:chgData name="Alexander Zap" userId="a7da462d-dcce-4fac-877b-2514b43c9eed" providerId="ADAL" clId="{9AE733F7-683B-4AED-8EAC-2202FBFCBABB}" dt="2023-10-08T15:55:51.663" v="126" actId="2696"/>
        <pc:sldMkLst>
          <pc:docMk/>
          <pc:sldMk cId="2162137020" sldId="2147474161"/>
        </pc:sldMkLst>
      </pc:sldChg>
      <pc:sldChg chg="modSp add del mod">
        <pc:chgData name="Alexander Zap" userId="a7da462d-dcce-4fac-877b-2514b43c9eed" providerId="ADAL" clId="{9AE733F7-683B-4AED-8EAC-2202FBFCBABB}" dt="2023-10-08T16:27:03.429" v="269" actId="20577"/>
        <pc:sldMkLst>
          <pc:docMk/>
          <pc:sldMk cId="3496939702" sldId="2147474187"/>
        </pc:sldMkLst>
        <pc:spChg chg="mod">
          <ac:chgData name="Alexander Zap" userId="a7da462d-dcce-4fac-877b-2514b43c9eed" providerId="ADAL" clId="{9AE733F7-683B-4AED-8EAC-2202FBFCBABB}" dt="2023-10-08T16:27:03.429" v="269" actId="20577"/>
          <ac:spMkLst>
            <pc:docMk/>
            <pc:sldMk cId="3496939702" sldId="2147474187"/>
            <ac:spMk id="5" creationId="{17E89849-5509-B602-2504-D5CACB3F4A62}"/>
          </ac:spMkLst>
        </pc:spChg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3401788778" sldId="2147474188"/>
        </pc:sldMkLst>
      </pc:sldChg>
      <pc:sldChg chg="del">
        <pc:chgData name="Alexander Zap" userId="a7da462d-dcce-4fac-877b-2514b43c9eed" providerId="ADAL" clId="{9AE733F7-683B-4AED-8EAC-2202FBFCBABB}" dt="2023-10-08T15:55:50.882" v="125" actId="2696"/>
        <pc:sldMkLst>
          <pc:docMk/>
          <pc:sldMk cId="4249148132" sldId="2147474190"/>
        </pc:sldMkLst>
      </pc:sldChg>
      <pc:sldChg chg="delSp modSp add del mod">
        <pc:chgData name="Alexander Zap" userId="a7da462d-dcce-4fac-877b-2514b43c9eed" providerId="ADAL" clId="{9AE733F7-683B-4AED-8EAC-2202FBFCBABB}" dt="2023-10-08T15:55:49.928" v="124" actId="2696"/>
        <pc:sldMkLst>
          <pc:docMk/>
          <pc:sldMk cId="3685027383" sldId="2147474191"/>
        </pc:sldMkLst>
        <pc:grpChg chg="del">
          <ac:chgData name="Alexander Zap" userId="a7da462d-dcce-4fac-877b-2514b43c9eed" providerId="ADAL" clId="{9AE733F7-683B-4AED-8EAC-2202FBFCBABB}" dt="2023-10-08T15:47:47.982" v="57" actId="21"/>
          <ac:grpSpMkLst>
            <pc:docMk/>
            <pc:sldMk cId="3685027383" sldId="2147474191"/>
            <ac:grpSpMk id="2" creationId="{D4BB2CFE-EEDA-9DC2-633D-23A2D6402BF3}"/>
          </ac:grpSpMkLst>
        </pc:grpChg>
        <pc:cxnChg chg="mod">
          <ac:chgData name="Alexander Zap" userId="a7da462d-dcce-4fac-877b-2514b43c9eed" providerId="ADAL" clId="{9AE733F7-683B-4AED-8EAC-2202FBFCBABB}" dt="2023-10-08T15:47:47.982" v="57" actId="21"/>
          <ac:cxnSpMkLst>
            <pc:docMk/>
            <pc:sldMk cId="3685027383" sldId="2147474191"/>
            <ac:cxnSpMk id="15" creationId="{ED043C52-6BF2-2B5B-03C5-7421EF0804ED}"/>
          </ac:cxnSpMkLst>
        </pc:cxnChg>
        <pc:cxnChg chg="mod">
          <ac:chgData name="Alexander Zap" userId="a7da462d-dcce-4fac-877b-2514b43c9eed" providerId="ADAL" clId="{9AE733F7-683B-4AED-8EAC-2202FBFCBABB}" dt="2023-10-08T15:47:47.982" v="57" actId="21"/>
          <ac:cxnSpMkLst>
            <pc:docMk/>
            <pc:sldMk cId="3685027383" sldId="2147474191"/>
            <ac:cxnSpMk id="24" creationId="{771AEDEE-E2A0-E236-88CB-B5523B02DDD0}"/>
          </ac:cxnSpMkLst>
        </pc:cxnChg>
      </pc:sldChg>
      <pc:sldChg chg="addSp delSp modSp new add del mod">
        <pc:chgData name="Alexander Zap" userId="a7da462d-dcce-4fac-877b-2514b43c9eed" providerId="ADAL" clId="{9AE733F7-683B-4AED-8EAC-2202FBFCBABB}" dt="2023-10-08T16:08:44.061" v="222" actId="2696"/>
        <pc:sldMkLst>
          <pc:docMk/>
          <pc:sldMk cId="3073194991" sldId="2147474192"/>
        </pc:sldMkLst>
        <pc:spChg chg="del">
          <ac:chgData name="Alexander Zap" userId="a7da462d-dcce-4fac-877b-2514b43c9eed" providerId="ADAL" clId="{9AE733F7-683B-4AED-8EAC-2202FBFCBABB}" dt="2023-10-08T15:48:02.989" v="60" actId="21"/>
          <ac:spMkLst>
            <pc:docMk/>
            <pc:sldMk cId="3073194991" sldId="2147474192"/>
            <ac:spMk id="2" creationId="{753AD2D7-B156-619D-A01D-054BF39EF00E}"/>
          </ac:spMkLst>
        </pc:spChg>
        <pc:spChg chg="del">
          <ac:chgData name="Alexander Zap" userId="a7da462d-dcce-4fac-877b-2514b43c9eed" providerId="ADAL" clId="{9AE733F7-683B-4AED-8EAC-2202FBFCBABB}" dt="2023-10-08T15:48:01.574" v="59" actId="21"/>
          <ac:spMkLst>
            <pc:docMk/>
            <pc:sldMk cId="3073194991" sldId="2147474192"/>
            <ac:spMk id="3" creationId="{6D96CD7E-F457-79D5-C0B8-61EDD1A84E52}"/>
          </ac:spMkLst>
        </pc:spChg>
        <pc:picChg chg="add del mod">
          <ac:chgData name="Alexander Zap" userId="a7da462d-dcce-4fac-877b-2514b43c9eed" providerId="ADAL" clId="{9AE733F7-683B-4AED-8EAC-2202FBFCBABB}" dt="2023-10-08T16:08:26.481" v="221" actId="21"/>
          <ac:picMkLst>
            <pc:docMk/>
            <pc:sldMk cId="3073194991" sldId="2147474192"/>
            <ac:picMk id="6" creationId="{E17F1E14-2FBD-1B62-77B3-FD5B0F6F5CD6}"/>
          </ac:picMkLst>
        </pc:picChg>
        <pc:picChg chg="add del">
          <ac:chgData name="Alexander Zap" userId="a7da462d-dcce-4fac-877b-2514b43c9eed" providerId="ADAL" clId="{9AE733F7-683B-4AED-8EAC-2202FBFCBABB}" dt="2023-10-08T15:48:53.777" v="64" actId="22"/>
          <ac:picMkLst>
            <pc:docMk/>
            <pc:sldMk cId="3073194991" sldId="2147474192"/>
            <ac:picMk id="8" creationId="{5B940FA3-E04B-C78F-B817-8F091C9EC32D}"/>
          </ac:picMkLst>
        </pc:picChg>
      </pc:sldChg>
      <pc:sldChg chg="addSp delSp modSp add mod">
        <pc:chgData name="Alexander Zap" userId="a7da462d-dcce-4fac-877b-2514b43c9eed" providerId="ADAL" clId="{9AE733F7-683B-4AED-8EAC-2202FBFCBABB}" dt="2023-10-08T16:27:49.341" v="287" actId="1036"/>
        <pc:sldMkLst>
          <pc:docMk/>
          <pc:sldMk cId="4030372117" sldId="2147474193"/>
        </pc:sldMkLst>
        <pc:picChg chg="add mod">
          <ac:chgData name="Alexander Zap" userId="a7da462d-dcce-4fac-877b-2514b43c9eed" providerId="ADAL" clId="{9AE733F7-683B-4AED-8EAC-2202FBFCBABB}" dt="2023-10-08T16:27:49.341" v="287" actId="1036"/>
          <ac:picMkLst>
            <pc:docMk/>
            <pc:sldMk cId="4030372117" sldId="2147474193"/>
            <ac:picMk id="3" creationId="{C0FC6574-7D85-2BA7-EAA4-7A4832D18607}"/>
          </ac:picMkLst>
        </pc:picChg>
        <pc:picChg chg="del">
          <ac:chgData name="Alexander Zap" userId="a7da462d-dcce-4fac-877b-2514b43c9eed" providerId="ADAL" clId="{9AE733F7-683B-4AED-8EAC-2202FBFCBABB}" dt="2023-10-08T15:49:00.068" v="68" actId="21"/>
          <ac:picMkLst>
            <pc:docMk/>
            <pc:sldMk cId="4030372117" sldId="2147474193"/>
            <ac:picMk id="6" creationId="{E17F1E14-2FBD-1B62-77B3-FD5B0F6F5CD6}"/>
          </ac:picMkLst>
        </pc:picChg>
      </pc:sldChg>
      <pc:sldChg chg="add del">
        <pc:chgData name="Alexander Zap" userId="a7da462d-dcce-4fac-877b-2514b43c9eed" providerId="ADAL" clId="{9AE733F7-683B-4AED-8EAC-2202FBFCBABB}" dt="2023-10-08T15:49:01.668" v="70" actId="2696"/>
        <pc:sldMkLst>
          <pc:docMk/>
          <pc:sldMk cId="2858231602" sldId="2147474194"/>
        </pc:sldMkLst>
      </pc:sldChg>
      <pc:sldChg chg="addSp delSp modSp add mod ord">
        <pc:chgData name="Alexander Zap" userId="a7da462d-dcce-4fac-877b-2514b43c9eed" providerId="ADAL" clId="{9AE733F7-683B-4AED-8EAC-2202FBFCBABB}" dt="2023-10-08T16:28:48.317" v="372" actId="1038"/>
        <pc:sldMkLst>
          <pc:docMk/>
          <pc:sldMk cId="192212356" sldId="2147474195"/>
        </pc:sldMkLst>
        <pc:picChg chg="add mod">
          <ac:chgData name="Alexander Zap" userId="a7da462d-dcce-4fac-877b-2514b43c9eed" providerId="ADAL" clId="{9AE733F7-683B-4AED-8EAC-2202FBFCBABB}" dt="2023-10-08T16:28:48.317" v="372" actId="1038"/>
          <ac:picMkLst>
            <pc:docMk/>
            <pc:sldMk cId="192212356" sldId="2147474195"/>
            <ac:picMk id="3" creationId="{B8C7BEC9-0402-9919-E8DC-D1FC1DF17B1B}"/>
          </ac:picMkLst>
        </pc:picChg>
        <pc:picChg chg="del">
          <ac:chgData name="Alexander Zap" userId="a7da462d-dcce-4fac-877b-2514b43c9eed" providerId="ADAL" clId="{9AE733F7-683B-4AED-8EAC-2202FBFCBABB}" dt="2023-10-08T15:49:00.989" v="69" actId="21"/>
          <ac:picMkLst>
            <pc:docMk/>
            <pc:sldMk cId="192212356" sldId="2147474195"/>
            <ac:picMk id="6" creationId="{E17F1E14-2FBD-1B62-77B3-FD5B0F6F5CD6}"/>
          </ac:picMkLst>
        </pc:picChg>
      </pc:sldChg>
      <pc:sldChg chg="addSp modSp add mod">
        <pc:chgData name="Alexander Zap" userId="a7da462d-dcce-4fac-877b-2514b43c9eed" providerId="ADAL" clId="{9AE733F7-683B-4AED-8EAC-2202FBFCBABB}" dt="2023-10-08T16:28:18.897" v="312" actId="1038"/>
        <pc:sldMkLst>
          <pc:docMk/>
          <pc:sldMk cId="3964621645" sldId="2147474196"/>
        </pc:sldMkLst>
        <pc:picChg chg="add mod">
          <ac:chgData name="Alexander Zap" userId="a7da462d-dcce-4fac-877b-2514b43c9eed" providerId="ADAL" clId="{9AE733F7-683B-4AED-8EAC-2202FBFCBABB}" dt="2023-10-08T16:28:18.897" v="312" actId="1038"/>
          <ac:picMkLst>
            <pc:docMk/>
            <pc:sldMk cId="3964621645" sldId="2147474196"/>
            <ac:picMk id="3" creationId="{B9D975F4-CC70-24F3-DA1A-629B25B4FC56}"/>
          </ac:picMkLst>
        </pc:picChg>
      </pc:sldChg>
      <pc:sldChg chg="addSp delSp modSp add mod">
        <pc:chgData name="Alexander Zap" userId="a7da462d-dcce-4fac-877b-2514b43c9eed" providerId="ADAL" clId="{9AE733F7-683B-4AED-8EAC-2202FBFCBABB}" dt="2023-10-10T00:14:52.315" v="622" actId="14100"/>
        <pc:sldMkLst>
          <pc:docMk/>
          <pc:sldMk cId="3651075181" sldId="2147474197"/>
        </pc:sldMkLst>
        <pc:picChg chg="add del mod">
          <ac:chgData name="Alexander Zap" userId="a7da462d-dcce-4fac-877b-2514b43c9eed" providerId="ADAL" clId="{9AE733F7-683B-4AED-8EAC-2202FBFCBABB}" dt="2023-10-08T16:12:16.013" v="242" actId="21"/>
          <ac:picMkLst>
            <pc:docMk/>
            <pc:sldMk cId="3651075181" sldId="2147474197"/>
            <ac:picMk id="3" creationId="{52B1B9D6-1AAF-B521-0355-6AB5952D32C2}"/>
          </ac:picMkLst>
        </pc:picChg>
        <pc:picChg chg="add mod">
          <ac:chgData name="Alexander Zap" userId="a7da462d-dcce-4fac-877b-2514b43c9eed" providerId="ADAL" clId="{9AE733F7-683B-4AED-8EAC-2202FBFCBABB}" dt="2023-10-10T00:14:52.315" v="622" actId="14100"/>
          <ac:picMkLst>
            <pc:docMk/>
            <pc:sldMk cId="3651075181" sldId="2147474197"/>
            <ac:picMk id="6" creationId="{9BE11D37-0728-29F1-31DD-7D7F93FF79D2}"/>
          </ac:picMkLst>
        </pc:picChg>
      </pc:sldChg>
      <pc:sldChg chg="addSp modSp add mod">
        <pc:chgData name="Alexander Zap" userId="a7da462d-dcce-4fac-877b-2514b43c9eed" providerId="ADAL" clId="{9AE733F7-683B-4AED-8EAC-2202FBFCBABB}" dt="2023-10-08T16:29:04.717" v="384" actId="1037"/>
        <pc:sldMkLst>
          <pc:docMk/>
          <pc:sldMk cId="2468879691" sldId="2147474198"/>
        </pc:sldMkLst>
        <pc:picChg chg="add mod">
          <ac:chgData name="Alexander Zap" userId="a7da462d-dcce-4fac-877b-2514b43c9eed" providerId="ADAL" clId="{9AE733F7-683B-4AED-8EAC-2202FBFCBABB}" dt="2023-10-08T16:29:04.717" v="384" actId="1037"/>
          <ac:picMkLst>
            <pc:docMk/>
            <pc:sldMk cId="2468879691" sldId="2147474198"/>
            <ac:picMk id="3" creationId="{1EADBF35-C92F-4401-0C8B-5AB324BF2949}"/>
          </ac:picMkLst>
        </pc:picChg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324653998" sldId="2147474199"/>
        </pc:sldMkLst>
      </pc:sldChg>
      <pc:sldChg chg="addSp modSp add mod">
        <pc:chgData name="Alexander Zap" userId="a7da462d-dcce-4fac-877b-2514b43c9eed" providerId="ADAL" clId="{9AE733F7-683B-4AED-8EAC-2202FBFCBABB}" dt="2023-10-08T16:29:14.492" v="386" actId="1076"/>
        <pc:sldMkLst>
          <pc:docMk/>
          <pc:sldMk cId="1015740648" sldId="2147474199"/>
        </pc:sldMkLst>
        <pc:picChg chg="add mod">
          <ac:chgData name="Alexander Zap" userId="a7da462d-dcce-4fac-877b-2514b43c9eed" providerId="ADAL" clId="{9AE733F7-683B-4AED-8EAC-2202FBFCBABB}" dt="2023-10-08T16:29:14.492" v="386" actId="1076"/>
          <ac:picMkLst>
            <pc:docMk/>
            <pc:sldMk cId="1015740648" sldId="2147474199"/>
            <ac:picMk id="3" creationId="{519B34B6-CA4B-CBF3-A262-C5A0CC528E2E}"/>
          </ac:picMkLst>
        </pc:picChg>
      </pc:sldChg>
      <pc:sldChg chg="addSp modSp add mod">
        <pc:chgData name="Alexander Zap" userId="a7da462d-dcce-4fac-877b-2514b43c9eed" providerId="ADAL" clId="{9AE733F7-683B-4AED-8EAC-2202FBFCBABB}" dt="2023-10-08T16:29:26.359" v="394" actId="1036"/>
        <pc:sldMkLst>
          <pc:docMk/>
          <pc:sldMk cId="1649911784" sldId="2147474200"/>
        </pc:sldMkLst>
        <pc:picChg chg="add mod">
          <ac:chgData name="Alexander Zap" userId="a7da462d-dcce-4fac-877b-2514b43c9eed" providerId="ADAL" clId="{9AE733F7-683B-4AED-8EAC-2202FBFCBABB}" dt="2023-10-08T16:29:26.359" v="394" actId="1036"/>
          <ac:picMkLst>
            <pc:docMk/>
            <pc:sldMk cId="1649911784" sldId="2147474200"/>
            <ac:picMk id="3" creationId="{61BF5D73-F5ED-2411-0CA0-E3060ACD5436}"/>
          </ac:picMkLst>
        </pc:picChg>
      </pc:sldChg>
      <pc:sldChg chg="addSp modSp add mod">
        <pc:chgData name="Alexander Zap" userId="a7da462d-dcce-4fac-877b-2514b43c9eed" providerId="ADAL" clId="{9AE733F7-683B-4AED-8EAC-2202FBFCBABB}" dt="2023-10-08T16:29:43.880" v="405" actId="1036"/>
        <pc:sldMkLst>
          <pc:docMk/>
          <pc:sldMk cId="294105286" sldId="2147474201"/>
        </pc:sldMkLst>
        <pc:picChg chg="add mod">
          <ac:chgData name="Alexander Zap" userId="a7da462d-dcce-4fac-877b-2514b43c9eed" providerId="ADAL" clId="{9AE733F7-683B-4AED-8EAC-2202FBFCBABB}" dt="2023-10-08T16:29:43.880" v="405" actId="1036"/>
          <ac:picMkLst>
            <pc:docMk/>
            <pc:sldMk cId="294105286" sldId="2147474201"/>
            <ac:picMk id="3" creationId="{F0DB8A49-8880-B17F-6DC9-4770223B0878}"/>
          </ac:picMkLst>
        </pc:picChg>
      </pc:sldChg>
      <pc:sldChg chg="addSp modSp add mod">
        <pc:chgData name="Alexander Zap" userId="a7da462d-dcce-4fac-877b-2514b43c9eed" providerId="ADAL" clId="{9AE733F7-683B-4AED-8EAC-2202FBFCBABB}" dt="2023-10-08T16:34:09.051" v="572" actId="1036"/>
        <pc:sldMkLst>
          <pc:docMk/>
          <pc:sldMk cId="3442961473" sldId="2147474202"/>
        </pc:sldMkLst>
        <pc:picChg chg="add mod">
          <ac:chgData name="Alexander Zap" userId="a7da462d-dcce-4fac-877b-2514b43c9eed" providerId="ADAL" clId="{9AE733F7-683B-4AED-8EAC-2202FBFCBABB}" dt="2023-10-08T16:34:09.051" v="572" actId="1036"/>
          <ac:picMkLst>
            <pc:docMk/>
            <pc:sldMk cId="3442961473" sldId="2147474202"/>
            <ac:picMk id="3" creationId="{4EC1257D-0F7F-B439-D7F1-FE3FFE8355D0}"/>
          </ac:picMkLst>
        </pc:picChg>
      </pc:sldChg>
      <pc:sldChg chg="addSp modSp add mod">
        <pc:chgData name="Alexander Zap" userId="a7da462d-dcce-4fac-877b-2514b43c9eed" providerId="ADAL" clId="{9AE733F7-683B-4AED-8EAC-2202FBFCBABB}" dt="2023-10-08T16:30:41.022" v="448" actId="1036"/>
        <pc:sldMkLst>
          <pc:docMk/>
          <pc:sldMk cId="817882614" sldId="2147474203"/>
        </pc:sldMkLst>
        <pc:picChg chg="add mod">
          <ac:chgData name="Alexander Zap" userId="a7da462d-dcce-4fac-877b-2514b43c9eed" providerId="ADAL" clId="{9AE733F7-683B-4AED-8EAC-2202FBFCBABB}" dt="2023-10-08T16:30:41.022" v="448" actId="1036"/>
          <ac:picMkLst>
            <pc:docMk/>
            <pc:sldMk cId="817882614" sldId="2147474203"/>
            <ac:picMk id="3" creationId="{1A6321C1-9D64-EDBB-F801-7AE08F5E166F}"/>
          </ac:picMkLst>
        </pc:picChg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3383596191" sldId="2147474203"/>
        </pc:sldMkLst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1400505674" sldId="2147474204"/>
        </pc:sldMkLst>
      </pc:sldChg>
      <pc:sldChg chg="addSp modSp add mod ord">
        <pc:chgData name="Alexander Zap" userId="a7da462d-dcce-4fac-877b-2514b43c9eed" providerId="ADAL" clId="{9AE733F7-683B-4AED-8EAC-2202FBFCBABB}" dt="2023-10-08T16:28:02.608" v="305" actId="1037"/>
        <pc:sldMkLst>
          <pc:docMk/>
          <pc:sldMk cId="1510521023" sldId="2147474204"/>
        </pc:sldMkLst>
        <pc:picChg chg="add mod">
          <ac:chgData name="Alexander Zap" userId="a7da462d-dcce-4fac-877b-2514b43c9eed" providerId="ADAL" clId="{9AE733F7-683B-4AED-8EAC-2202FBFCBABB}" dt="2023-10-08T16:28:02.608" v="305" actId="1037"/>
          <ac:picMkLst>
            <pc:docMk/>
            <pc:sldMk cId="1510521023" sldId="2147474204"/>
            <ac:picMk id="3" creationId="{154CBCDF-2018-25BC-128C-54D236123D0F}"/>
          </ac:picMkLst>
        </pc:picChg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2137369348" sldId="2147474205"/>
        </pc:sldMkLst>
      </pc:sldChg>
      <pc:sldChg chg="addSp add mod">
        <pc:chgData name="Alexander Zap" userId="a7da462d-dcce-4fac-877b-2514b43c9eed" providerId="ADAL" clId="{9AE733F7-683B-4AED-8EAC-2202FBFCBABB}" dt="2023-10-08T15:56:52.714" v="128" actId="22"/>
        <pc:sldMkLst>
          <pc:docMk/>
          <pc:sldMk cId="3235327725" sldId="2147474205"/>
        </pc:sldMkLst>
        <pc:picChg chg="add">
          <ac:chgData name="Alexander Zap" userId="a7da462d-dcce-4fac-877b-2514b43c9eed" providerId="ADAL" clId="{9AE733F7-683B-4AED-8EAC-2202FBFCBABB}" dt="2023-10-08T15:56:52.714" v="128" actId="22"/>
          <ac:picMkLst>
            <pc:docMk/>
            <pc:sldMk cId="3235327725" sldId="2147474205"/>
            <ac:picMk id="3" creationId="{4BF7FDA9-6542-D7BF-414D-8429F7ABAA94}"/>
          </ac:picMkLst>
        </pc:picChg>
      </pc:sldChg>
      <pc:sldChg chg="addSp modSp add mod">
        <pc:chgData name="Alexander Zap" userId="a7da462d-dcce-4fac-877b-2514b43c9eed" providerId="ADAL" clId="{9AE733F7-683B-4AED-8EAC-2202FBFCBABB}" dt="2023-10-08T16:30:04.330" v="419" actId="1076"/>
        <pc:sldMkLst>
          <pc:docMk/>
          <pc:sldMk cId="195179030" sldId="2147474206"/>
        </pc:sldMkLst>
        <pc:picChg chg="add mod">
          <ac:chgData name="Alexander Zap" userId="a7da462d-dcce-4fac-877b-2514b43c9eed" providerId="ADAL" clId="{9AE733F7-683B-4AED-8EAC-2202FBFCBABB}" dt="2023-10-08T16:30:04.330" v="419" actId="1076"/>
          <ac:picMkLst>
            <pc:docMk/>
            <pc:sldMk cId="195179030" sldId="2147474206"/>
            <ac:picMk id="3" creationId="{AC847B14-535E-B996-FB8A-34A7582E5D34}"/>
          </ac:picMkLst>
        </pc:picChg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3685096933" sldId="2147474206"/>
        </pc:sldMkLst>
      </pc:sldChg>
      <pc:sldChg chg="addSp modSp add mod">
        <pc:chgData name="Alexander Zap" userId="a7da462d-dcce-4fac-877b-2514b43c9eed" providerId="ADAL" clId="{9AE733F7-683B-4AED-8EAC-2202FBFCBABB}" dt="2023-10-08T16:34:25.552" v="581" actId="1038"/>
        <pc:sldMkLst>
          <pc:docMk/>
          <pc:sldMk cId="2713050523" sldId="2147474207"/>
        </pc:sldMkLst>
        <pc:picChg chg="add mod">
          <ac:chgData name="Alexander Zap" userId="a7da462d-dcce-4fac-877b-2514b43c9eed" providerId="ADAL" clId="{9AE733F7-683B-4AED-8EAC-2202FBFCBABB}" dt="2023-10-08T16:34:25.552" v="581" actId="1038"/>
          <ac:picMkLst>
            <pc:docMk/>
            <pc:sldMk cId="2713050523" sldId="2147474207"/>
            <ac:picMk id="3" creationId="{48430905-B006-7CF2-9565-F7815A7AFBFB}"/>
          </ac:picMkLst>
        </pc:picChg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3295899032" sldId="2147474207"/>
        </pc:sldMkLst>
      </pc:sldChg>
      <pc:sldChg chg="addSp modSp add mod">
        <pc:chgData name="Alexander Zap" userId="a7da462d-dcce-4fac-877b-2514b43c9eed" providerId="ADAL" clId="{9AE733F7-683B-4AED-8EAC-2202FBFCBABB}" dt="2023-10-08T16:30:28.308" v="431" actId="1036"/>
        <pc:sldMkLst>
          <pc:docMk/>
          <pc:sldMk cId="1977882976" sldId="2147474208"/>
        </pc:sldMkLst>
        <pc:picChg chg="add mod">
          <ac:chgData name="Alexander Zap" userId="a7da462d-dcce-4fac-877b-2514b43c9eed" providerId="ADAL" clId="{9AE733F7-683B-4AED-8EAC-2202FBFCBABB}" dt="2023-10-08T16:30:28.308" v="431" actId="1036"/>
          <ac:picMkLst>
            <pc:docMk/>
            <pc:sldMk cId="1977882976" sldId="2147474208"/>
            <ac:picMk id="3" creationId="{0DEEC6A2-FF9D-ACA3-76DB-D64475EBFDED}"/>
          </ac:picMkLst>
        </pc:picChg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3531290962" sldId="2147474208"/>
        </pc:sldMkLst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3497305580" sldId="2147474209"/>
        </pc:sldMkLst>
      </pc:sldChg>
      <pc:sldChg chg="addSp delSp modSp add mod ord">
        <pc:chgData name="Alexander Zap" userId="a7da462d-dcce-4fac-877b-2514b43c9eed" providerId="ADAL" clId="{9AE733F7-683B-4AED-8EAC-2202FBFCBABB}" dt="2023-10-08T16:35:09.517" v="590"/>
        <pc:sldMkLst>
          <pc:docMk/>
          <pc:sldMk cId="3971899882" sldId="2147474209"/>
        </pc:sldMkLst>
        <pc:picChg chg="del">
          <ac:chgData name="Alexander Zap" userId="a7da462d-dcce-4fac-877b-2514b43c9eed" providerId="ADAL" clId="{9AE733F7-683B-4AED-8EAC-2202FBFCBABB}" dt="2023-10-08T15:58:33.204" v="136" actId="21"/>
          <ac:picMkLst>
            <pc:docMk/>
            <pc:sldMk cId="3971899882" sldId="2147474209"/>
            <ac:picMk id="3" creationId="{1A6321C1-9D64-EDBB-F801-7AE08F5E166F}"/>
          </ac:picMkLst>
        </pc:picChg>
        <pc:picChg chg="add mod">
          <ac:chgData name="Alexander Zap" userId="a7da462d-dcce-4fac-877b-2514b43c9eed" providerId="ADAL" clId="{9AE733F7-683B-4AED-8EAC-2202FBFCBABB}" dt="2023-10-08T16:34:57.471" v="588" actId="1036"/>
          <ac:picMkLst>
            <pc:docMk/>
            <pc:sldMk cId="3971899882" sldId="2147474209"/>
            <ac:picMk id="5" creationId="{70D20D23-F2EB-9D83-D721-6E5895ED2688}"/>
          </ac:picMkLst>
        </pc:picChg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3920667103" sldId="2147474210"/>
        </pc:sldMkLst>
      </pc:sldChg>
      <pc:sldChg chg="addSp delSp modSp add mod">
        <pc:chgData name="Alexander Zap" userId="a7da462d-dcce-4fac-877b-2514b43c9eed" providerId="ADAL" clId="{9AE733F7-683B-4AED-8EAC-2202FBFCBABB}" dt="2023-10-08T16:35:16.719" v="591" actId="14100"/>
        <pc:sldMkLst>
          <pc:docMk/>
          <pc:sldMk cId="4275719410" sldId="2147474210"/>
        </pc:sldMkLst>
        <pc:picChg chg="del">
          <ac:chgData name="Alexander Zap" userId="a7da462d-dcce-4fac-877b-2514b43c9eed" providerId="ADAL" clId="{9AE733F7-683B-4AED-8EAC-2202FBFCBABB}" dt="2023-10-08T15:58:34.699" v="137" actId="21"/>
          <ac:picMkLst>
            <pc:docMk/>
            <pc:sldMk cId="4275719410" sldId="2147474210"/>
            <ac:picMk id="3" creationId="{1A6321C1-9D64-EDBB-F801-7AE08F5E166F}"/>
          </ac:picMkLst>
        </pc:picChg>
        <pc:picChg chg="add mod">
          <ac:chgData name="Alexander Zap" userId="a7da462d-dcce-4fac-877b-2514b43c9eed" providerId="ADAL" clId="{9AE733F7-683B-4AED-8EAC-2202FBFCBABB}" dt="2023-10-08T16:35:16.719" v="591" actId="14100"/>
          <ac:picMkLst>
            <pc:docMk/>
            <pc:sldMk cId="4275719410" sldId="2147474210"/>
            <ac:picMk id="5" creationId="{A0A98ADC-110B-53A4-D194-0E9166D25693}"/>
          </ac:picMkLst>
        </pc:picChg>
      </pc:sldChg>
      <pc:sldChg chg="addSp delSp modSp add mod">
        <pc:chgData name="Alexander Zap" userId="a7da462d-dcce-4fac-877b-2514b43c9eed" providerId="ADAL" clId="{9AE733F7-683B-4AED-8EAC-2202FBFCBABB}" dt="2023-10-08T16:31:40.280" v="492" actId="1036"/>
        <pc:sldMkLst>
          <pc:docMk/>
          <pc:sldMk cId="1879525883" sldId="2147474211"/>
        </pc:sldMkLst>
        <pc:picChg chg="del">
          <ac:chgData name="Alexander Zap" userId="a7da462d-dcce-4fac-877b-2514b43c9eed" providerId="ADAL" clId="{9AE733F7-683B-4AED-8EAC-2202FBFCBABB}" dt="2023-10-08T15:58:36.263" v="138" actId="21"/>
          <ac:picMkLst>
            <pc:docMk/>
            <pc:sldMk cId="1879525883" sldId="2147474211"/>
            <ac:picMk id="3" creationId="{1A6321C1-9D64-EDBB-F801-7AE08F5E166F}"/>
          </ac:picMkLst>
        </pc:picChg>
        <pc:picChg chg="add mod">
          <ac:chgData name="Alexander Zap" userId="a7da462d-dcce-4fac-877b-2514b43c9eed" providerId="ADAL" clId="{9AE733F7-683B-4AED-8EAC-2202FBFCBABB}" dt="2023-10-08T16:31:40.280" v="492" actId="1036"/>
          <ac:picMkLst>
            <pc:docMk/>
            <pc:sldMk cId="1879525883" sldId="2147474211"/>
            <ac:picMk id="5" creationId="{93DE00E4-9E57-2B3B-6D33-CF47F2A5D174}"/>
          </ac:picMkLst>
        </pc:picChg>
      </pc:sldChg>
      <pc:sldChg chg="addSp delSp modSp add mod">
        <pc:chgData name="Alexander Zap" userId="a7da462d-dcce-4fac-877b-2514b43c9eed" providerId="ADAL" clId="{9AE733F7-683B-4AED-8EAC-2202FBFCBABB}" dt="2023-10-08T16:31:12.435" v="476" actId="14100"/>
        <pc:sldMkLst>
          <pc:docMk/>
          <pc:sldMk cId="502495785" sldId="2147474212"/>
        </pc:sldMkLst>
        <pc:picChg chg="add del">
          <ac:chgData name="Alexander Zap" userId="a7da462d-dcce-4fac-877b-2514b43c9eed" providerId="ADAL" clId="{9AE733F7-683B-4AED-8EAC-2202FBFCBABB}" dt="2023-10-08T15:59:28.799" v="145" actId="21"/>
          <ac:picMkLst>
            <pc:docMk/>
            <pc:sldMk cId="502495785" sldId="2147474212"/>
            <ac:picMk id="3" creationId="{EDA78FE0-9EC6-5F51-D88F-CADEFE8A9F97}"/>
          </ac:picMkLst>
        </pc:picChg>
        <pc:picChg chg="add mod">
          <ac:chgData name="Alexander Zap" userId="a7da462d-dcce-4fac-877b-2514b43c9eed" providerId="ADAL" clId="{9AE733F7-683B-4AED-8EAC-2202FBFCBABB}" dt="2023-10-08T16:31:12.435" v="476" actId="14100"/>
          <ac:picMkLst>
            <pc:docMk/>
            <pc:sldMk cId="502495785" sldId="2147474212"/>
            <ac:picMk id="6" creationId="{C3DFCE92-1900-DE8F-CBA2-5561821C2BFF}"/>
          </ac:picMkLst>
        </pc:picChg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1129201901" sldId="2147474212"/>
        </pc:sldMkLst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2533146509" sldId="2147474213"/>
        </pc:sldMkLst>
      </pc:sldChg>
      <pc:sldChg chg="addSp modSp add mod">
        <pc:chgData name="Alexander Zap" userId="a7da462d-dcce-4fac-877b-2514b43c9eed" providerId="ADAL" clId="{9AE733F7-683B-4AED-8EAC-2202FBFCBABB}" dt="2023-10-08T16:36:05.080" v="595" actId="1036"/>
        <pc:sldMkLst>
          <pc:docMk/>
          <pc:sldMk cId="3861240719" sldId="2147474213"/>
        </pc:sldMkLst>
        <pc:picChg chg="add mod">
          <ac:chgData name="Alexander Zap" userId="a7da462d-dcce-4fac-877b-2514b43c9eed" providerId="ADAL" clId="{9AE733F7-683B-4AED-8EAC-2202FBFCBABB}" dt="2023-10-08T16:36:05.080" v="595" actId="1036"/>
          <ac:picMkLst>
            <pc:docMk/>
            <pc:sldMk cId="3861240719" sldId="2147474213"/>
            <ac:picMk id="3" creationId="{0E1525D5-A0C5-23A6-A3F8-6FB4D69A44FD}"/>
          </ac:picMkLst>
        </pc:picChg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1183938783" sldId="2147474214"/>
        </pc:sldMkLst>
      </pc:sldChg>
      <pc:sldChg chg="addSp modSp add mod">
        <pc:chgData name="Alexander Zap" userId="a7da462d-dcce-4fac-877b-2514b43c9eed" providerId="ADAL" clId="{9AE733F7-683B-4AED-8EAC-2202FBFCBABB}" dt="2023-10-08T16:31:26.192" v="480" actId="1076"/>
        <pc:sldMkLst>
          <pc:docMk/>
          <pc:sldMk cId="3674223032" sldId="2147474214"/>
        </pc:sldMkLst>
        <pc:picChg chg="add mod">
          <ac:chgData name="Alexander Zap" userId="a7da462d-dcce-4fac-877b-2514b43c9eed" providerId="ADAL" clId="{9AE733F7-683B-4AED-8EAC-2202FBFCBABB}" dt="2023-10-08T16:31:26.192" v="480" actId="1076"/>
          <ac:picMkLst>
            <pc:docMk/>
            <pc:sldMk cId="3674223032" sldId="2147474214"/>
            <ac:picMk id="3" creationId="{86D20B06-7035-8BA1-39DE-4ECFBBEEB706}"/>
          </ac:picMkLst>
        </pc:picChg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806247230" sldId="2147474215"/>
        </pc:sldMkLst>
      </pc:sldChg>
      <pc:sldChg chg="addSp delSp modSp add mod">
        <pc:chgData name="Alexander Zap" userId="a7da462d-dcce-4fac-877b-2514b43c9eed" providerId="ADAL" clId="{9AE733F7-683B-4AED-8EAC-2202FBFCBABB}" dt="2023-10-08T16:31:48.212" v="495" actId="1076"/>
        <pc:sldMkLst>
          <pc:docMk/>
          <pc:sldMk cId="3942692112" sldId="2147474215"/>
        </pc:sldMkLst>
        <pc:picChg chg="add mod">
          <ac:chgData name="Alexander Zap" userId="a7da462d-dcce-4fac-877b-2514b43c9eed" providerId="ADAL" clId="{9AE733F7-683B-4AED-8EAC-2202FBFCBABB}" dt="2023-10-08T16:31:48.212" v="495" actId="1076"/>
          <ac:picMkLst>
            <pc:docMk/>
            <pc:sldMk cId="3942692112" sldId="2147474215"/>
            <ac:picMk id="3" creationId="{6F3D50B1-D010-02E3-EEE6-50955A182AD0}"/>
          </ac:picMkLst>
        </pc:picChg>
        <pc:picChg chg="del">
          <ac:chgData name="Alexander Zap" userId="a7da462d-dcce-4fac-877b-2514b43c9eed" providerId="ADAL" clId="{9AE733F7-683B-4AED-8EAC-2202FBFCBABB}" dt="2023-10-08T16:00:59.545" v="156" actId="21"/>
          <ac:picMkLst>
            <pc:docMk/>
            <pc:sldMk cId="3942692112" sldId="2147474215"/>
            <ac:picMk id="5" creationId="{93DE00E4-9E57-2B3B-6D33-CF47F2A5D174}"/>
          </ac:picMkLst>
        </pc:picChg>
      </pc:sldChg>
      <pc:sldChg chg="addSp delSp modSp add mod">
        <pc:chgData name="Alexander Zap" userId="a7da462d-dcce-4fac-877b-2514b43c9eed" providerId="ADAL" clId="{9AE733F7-683B-4AED-8EAC-2202FBFCBABB}" dt="2023-10-08T16:31:58.652" v="497" actId="1076"/>
        <pc:sldMkLst>
          <pc:docMk/>
          <pc:sldMk cId="1425386018" sldId="2147474216"/>
        </pc:sldMkLst>
        <pc:picChg chg="add mod">
          <ac:chgData name="Alexander Zap" userId="a7da462d-dcce-4fac-877b-2514b43c9eed" providerId="ADAL" clId="{9AE733F7-683B-4AED-8EAC-2202FBFCBABB}" dt="2023-10-08T16:31:58.652" v="497" actId="1076"/>
          <ac:picMkLst>
            <pc:docMk/>
            <pc:sldMk cId="1425386018" sldId="2147474216"/>
            <ac:picMk id="3" creationId="{2EBDF114-204E-6DC1-6AAD-81E5E11CA7E8}"/>
          </ac:picMkLst>
        </pc:picChg>
        <pc:picChg chg="del">
          <ac:chgData name="Alexander Zap" userId="a7da462d-dcce-4fac-877b-2514b43c9eed" providerId="ADAL" clId="{9AE733F7-683B-4AED-8EAC-2202FBFCBABB}" dt="2023-10-08T16:01:01.290" v="157" actId="21"/>
          <ac:picMkLst>
            <pc:docMk/>
            <pc:sldMk cId="1425386018" sldId="2147474216"/>
            <ac:picMk id="5" creationId="{93DE00E4-9E57-2B3B-6D33-CF47F2A5D174}"/>
          </ac:picMkLst>
        </pc:picChg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2776780075" sldId="2147474216"/>
        </pc:sldMkLst>
      </pc:sldChg>
      <pc:sldChg chg="addSp delSp modSp add mod">
        <pc:chgData name="Alexander Zap" userId="a7da462d-dcce-4fac-877b-2514b43c9eed" providerId="ADAL" clId="{9AE733F7-683B-4AED-8EAC-2202FBFCBABB}" dt="2023-10-08T16:32:10.162" v="514" actId="1036"/>
        <pc:sldMkLst>
          <pc:docMk/>
          <pc:sldMk cId="4188369877" sldId="2147474217"/>
        </pc:sldMkLst>
        <pc:picChg chg="add mod">
          <ac:chgData name="Alexander Zap" userId="a7da462d-dcce-4fac-877b-2514b43c9eed" providerId="ADAL" clId="{9AE733F7-683B-4AED-8EAC-2202FBFCBABB}" dt="2023-10-08T16:32:10.162" v="514" actId="1036"/>
          <ac:picMkLst>
            <pc:docMk/>
            <pc:sldMk cId="4188369877" sldId="2147474217"/>
            <ac:picMk id="3" creationId="{C0B93F9A-52A0-DD41-5944-CE6B314A61E7}"/>
          </ac:picMkLst>
        </pc:picChg>
        <pc:picChg chg="del">
          <ac:chgData name="Alexander Zap" userId="a7da462d-dcce-4fac-877b-2514b43c9eed" providerId="ADAL" clId="{9AE733F7-683B-4AED-8EAC-2202FBFCBABB}" dt="2023-10-08T16:01:02.753" v="158" actId="21"/>
          <ac:picMkLst>
            <pc:docMk/>
            <pc:sldMk cId="4188369877" sldId="2147474217"/>
            <ac:picMk id="5" creationId="{93DE00E4-9E57-2B3B-6D33-CF47F2A5D174}"/>
          </ac:picMkLst>
        </pc:picChg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4261202554" sldId="2147474217"/>
        </pc:sldMkLst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2533661010" sldId="2147474218"/>
        </pc:sldMkLst>
      </pc:sldChg>
      <pc:sldChg chg="addSp delSp modSp add mod">
        <pc:chgData name="Alexander Zap" userId="a7da462d-dcce-4fac-877b-2514b43c9eed" providerId="ADAL" clId="{9AE733F7-683B-4AED-8EAC-2202FBFCBABB}" dt="2023-10-08T16:32:28.431" v="519" actId="1035"/>
        <pc:sldMkLst>
          <pc:docMk/>
          <pc:sldMk cId="2818069203" sldId="2147474218"/>
        </pc:sldMkLst>
        <pc:picChg chg="add mod">
          <ac:chgData name="Alexander Zap" userId="a7da462d-dcce-4fac-877b-2514b43c9eed" providerId="ADAL" clId="{9AE733F7-683B-4AED-8EAC-2202FBFCBABB}" dt="2023-10-08T16:32:28.431" v="519" actId="1035"/>
          <ac:picMkLst>
            <pc:docMk/>
            <pc:sldMk cId="2818069203" sldId="2147474218"/>
            <ac:picMk id="3" creationId="{F4CF4F8C-6D2C-5470-8E9B-4077381891A4}"/>
          </ac:picMkLst>
        </pc:picChg>
        <pc:picChg chg="del">
          <ac:chgData name="Alexander Zap" userId="a7da462d-dcce-4fac-877b-2514b43c9eed" providerId="ADAL" clId="{9AE733F7-683B-4AED-8EAC-2202FBFCBABB}" dt="2023-10-08T16:01:04.641" v="159" actId="21"/>
          <ac:picMkLst>
            <pc:docMk/>
            <pc:sldMk cId="2818069203" sldId="2147474218"/>
            <ac:picMk id="5" creationId="{93DE00E4-9E57-2B3B-6D33-CF47F2A5D174}"/>
          </ac:picMkLst>
        </pc:picChg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1511713715" sldId="2147474219"/>
        </pc:sldMkLst>
      </pc:sldChg>
      <pc:sldChg chg="addSp delSp modSp add mod">
        <pc:chgData name="Alexander Zap" userId="a7da462d-dcce-4fac-877b-2514b43c9eed" providerId="ADAL" clId="{9AE733F7-683B-4AED-8EAC-2202FBFCBABB}" dt="2023-10-08T16:32:37.450" v="533" actId="1037"/>
        <pc:sldMkLst>
          <pc:docMk/>
          <pc:sldMk cId="3203128128" sldId="2147474219"/>
        </pc:sldMkLst>
        <pc:picChg chg="add mod">
          <ac:chgData name="Alexander Zap" userId="a7da462d-dcce-4fac-877b-2514b43c9eed" providerId="ADAL" clId="{9AE733F7-683B-4AED-8EAC-2202FBFCBABB}" dt="2023-10-08T16:32:37.450" v="533" actId="1037"/>
          <ac:picMkLst>
            <pc:docMk/>
            <pc:sldMk cId="3203128128" sldId="2147474219"/>
            <ac:picMk id="3" creationId="{67B33A39-6DB1-12CC-DE01-3A0AE154D53E}"/>
          </ac:picMkLst>
        </pc:picChg>
        <pc:picChg chg="del">
          <ac:chgData name="Alexander Zap" userId="a7da462d-dcce-4fac-877b-2514b43c9eed" providerId="ADAL" clId="{9AE733F7-683B-4AED-8EAC-2202FBFCBABB}" dt="2023-10-08T16:01:07.672" v="160" actId="21"/>
          <ac:picMkLst>
            <pc:docMk/>
            <pc:sldMk cId="3203128128" sldId="2147474219"/>
            <ac:picMk id="5" creationId="{93DE00E4-9E57-2B3B-6D33-CF47F2A5D174}"/>
          </ac:picMkLst>
        </pc:picChg>
      </pc:sldChg>
      <pc:sldChg chg="addSp delSp modSp add mod">
        <pc:chgData name="Alexander Zap" userId="a7da462d-dcce-4fac-877b-2514b43c9eed" providerId="ADAL" clId="{9AE733F7-683B-4AED-8EAC-2202FBFCBABB}" dt="2023-10-08T16:32:44.345" v="535" actId="1076"/>
        <pc:sldMkLst>
          <pc:docMk/>
          <pc:sldMk cId="3776207791" sldId="2147474220"/>
        </pc:sldMkLst>
        <pc:picChg chg="del">
          <ac:chgData name="Alexander Zap" userId="a7da462d-dcce-4fac-877b-2514b43c9eed" providerId="ADAL" clId="{9AE733F7-683B-4AED-8EAC-2202FBFCBABB}" dt="2023-10-08T16:03:38.191" v="171" actId="21"/>
          <ac:picMkLst>
            <pc:docMk/>
            <pc:sldMk cId="3776207791" sldId="2147474220"/>
            <ac:picMk id="3" creationId="{67B33A39-6DB1-12CC-DE01-3A0AE154D53E}"/>
          </ac:picMkLst>
        </pc:picChg>
        <pc:picChg chg="add mod">
          <ac:chgData name="Alexander Zap" userId="a7da462d-dcce-4fac-877b-2514b43c9eed" providerId="ADAL" clId="{9AE733F7-683B-4AED-8EAC-2202FBFCBABB}" dt="2023-10-08T16:32:44.345" v="535" actId="1076"/>
          <ac:picMkLst>
            <pc:docMk/>
            <pc:sldMk cId="3776207791" sldId="2147474220"/>
            <ac:picMk id="5" creationId="{76F63D1C-8F72-CD46-11B2-E7C7AEDB0BCC}"/>
          </ac:picMkLst>
        </pc:picChg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4022380852" sldId="2147474220"/>
        </pc:sldMkLst>
      </pc:sldChg>
      <pc:sldChg chg="addSp delSp modSp add mod">
        <pc:chgData name="Alexander Zap" userId="a7da462d-dcce-4fac-877b-2514b43c9eed" providerId="ADAL" clId="{9AE733F7-683B-4AED-8EAC-2202FBFCBABB}" dt="2023-10-08T17:00:39.585" v="598" actId="1036"/>
        <pc:sldMkLst>
          <pc:docMk/>
          <pc:sldMk cId="347565789" sldId="2147474221"/>
        </pc:sldMkLst>
        <pc:picChg chg="del">
          <ac:chgData name="Alexander Zap" userId="a7da462d-dcce-4fac-877b-2514b43c9eed" providerId="ADAL" clId="{9AE733F7-683B-4AED-8EAC-2202FBFCBABB}" dt="2023-10-08T16:03:39.728" v="172" actId="21"/>
          <ac:picMkLst>
            <pc:docMk/>
            <pc:sldMk cId="347565789" sldId="2147474221"/>
            <ac:picMk id="3" creationId="{67B33A39-6DB1-12CC-DE01-3A0AE154D53E}"/>
          </ac:picMkLst>
        </pc:picChg>
        <pc:picChg chg="add mod">
          <ac:chgData name="Alexander Zap" userId="a7da462d-dcce-4fac-877b-2514b43c9eed" providerId="ADAL" clId="{9AE733F7-683B-4AED-8EAC-2202FBFCBABB}" dt="2023-10-08T17:00:39.585" v="598" actId="1036"/>
          <ac:picMkLst>
            <pc:docMk/>
            <pc:sldMk cId="347565789" sldId="2147474221"/>
            <ac:picMk id="5" creationId="{8E867AAE-56D9-CE45-DB89-87AB7C8FC3FB}"/>
          </ac:picMkLst>
        </pc:picChg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639341417" sldId="2147474222"/>
        </pc:sldMkLst>
      </pc:sldChg>
      <pc:sldChg chg="delSp add del mod">
        <pc:chgData name="Alexander Zap" userId="a7da462d-dcce-4fac-877b-2514b43c9eed" providerId="ADAL" clId="{9AE733F7-683B-4AED-8EAC-2202FBFCBABB}" dt="2023-10-08T16:32:59.368" v="552" actId="2696"/>
        <pc:sldMkLst>
          <pc:docMk/>
          <pc:sldMk cId="2917196991" sldId="2147474222"/>
        </pc:sldMkLst>
        <pc:picChg chg="del">
          <ac:chgData name="Alexander Zap" userId="a7da462d-dcce-4fac-877b-2514b43c9eed" providerId="ADAL" clId="{9AE733F7-683B-4AED-8EAC-2202FBFCBABB}" dt="2023-10-08T16:03:41.833" v="173" actId="21"/>
          <ac:picMkLst>
            <pc:docMk/>
            <pc:sldMk cId="2917196991" sldId="2147474222"/>
            <ac:picMk id="3" creationId="{67B33A39-6DB1-12CC-DE01-3A0AE154D53E}"/>
          </ac:picMkLst>
        </pc:picChg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1001584011" sldId="2147474223"/>
        </pc:sldMkLst>
      </pc:sldChg>
      <pc:sldChg chg="addSp delSp modSp add mod">
        <pc:chgData name="Alexander Zap" userId="a7da462d-dcce-4fac-877b-2514b43c9eed" providerId="ADAL" clId="{9AE733F7-683B-4AED-8EAC-2202FBFCBABB}" dt="2023-10-10T05:52:26.199" v="655" actId="113"/>
        <pc:sldMkLst>
          <pc:docMk/>
          <pc:sldMk cId="4293621403" sldId="2147474223"/>
        </pc:sldMkLst>
        <pc:spChg chg="add mod">
          <ac:chgData name="Alexander Zap" userId="a7da462d-dcce-4fac-877b-2514b43c9eed" providerId="ADAL" clId="{9AE733F7-683B-4AED-8EAC-2202FBFCBABB}" dt="2023-10-10T05:51:12.951" v="647" actId="1076"/>
          <ac:spMkLst>
            <pc:docMk/>
            <pc:sldMk cId="4293621403" sldId="2147474223"/>
            <ac:spMk id="3" creationId="{DEEDDFCE-C135-5C8A-7CE4-C235D4B4CB2D}"/>
          </ac:spMkLst>
        </pc:spChg>
        <pc:spChg chg="add mod">
          <ac:chgData name="Alexander Zap" userId="a7da462d-dcce-4fac-877b-2514b43c9eed" providerId="ADAL" clId="{9AE733F7-683B-4AED-8EAC-2202FBFCBABB}" dt="2023-10-10T05:52:26.199" v="655" actId="113"/>
          <ac:spMkLst>
            <pc:docMk/>
            <pc:sldMk cId="4293621403" sldId="2147474223"/>
            <ac:spMk id="9" creationId="{43659049-8232-5908-C34E-323A564B1B24}"/>
          </ac:spMkLst>
        </pc:spChg>
        <pc:picChg chg="add del mod">
          <ac:chgData name="Alexander Zap" userId="a7da462d-dcce-4fac-877b-2514b43c9eed" providerId="ADAL" clId="{9AE733F7-683B-4AED-8EAC-2202FBFCBABB}" dt="2023-10-10T05:50:39.974" v="629" actId="21"/>
          <ac:picMkLst>
            <pc:docMk/>
            <pc:sldMk cId="4293621403" sldId="2147474223"/>
            <ac:picMk id="2" creationId="{60EE6FEF-4172-D290-EDD5-014D7A8DC141}"/>
          </ac:picMkLst>
        </pc:picChg>
        <pc:picChg chg="del mod">
          <ac:chgData name="Alexander Zap" userId="a7da462d-dcce-4fac-877b-2514b43c9eed" providerId="ADAL" clId="{9AE733F7-683B-4AED-8EAC-2202FBFCBABB}" dt="2023-10-10T05:50:41.564" v="630" actId="21"/>
          <ac:picMkLst>
            <pc:docMk/>
            <pc:sldMk cId="4293621403" sldId="2147474223"/>
            <ac:picMk id="6" creationId="{E17F1E14-2FBD-1B62-77B3-FD5B0F6F5CD6}"/>
          </ac:picMkLst>
        </pc:picChg>
        <pc:picChg chg="add mod">
          <ac:chgData name="Alexander Zap" userId="a7da462d-dcce-4fac-877b-2514b43c9eed" providerId="ADAL" clId="{9AE733F7-683B-4AED-8EAC-2202FBFCBABB}" dt="2023-10-10T05:51:58.888" v="652" actId="1076"/>
          <ac:picMkLst>
            <pc:docMk/>
            <pc:sldMk cId="4293621403" sldId="2147474223"/>
            <ac:picMk id="7" creationId="{C56D4395-1903-C8D5-E5FC-CB6D5742F504}"/>
          </ac:picMkLst>
        </pc:picChg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1127894993" sldId="2147474224"/>
        </pc:sldMkLst>
      </pc:sldChg>
      <pc:sldChg chg="addSp delSp modSp new mod ord">
        <pc:chgData name="Alexander Zap" userId="a7da462d-dcce-4fac-877b-2514b43c9eed" providerId="ADAL" clId="{9AE733F7-683B-4AED-8EAC-2202FBFCBABB}" dt="2023-10-10T00:21:50.611" v="626" actId="21"/>
        <pc:sldMkLst>
          <pc:docMk/>
          <pc:sldMk cId="4076760277" sldId="2147474224"/>
        </pc:sldMkLst>
        <pc:spChg chg="del">
          <ac:chgData name="Alexander Zap" userId="a7da462d-dcce-4fac-877b-2514b43c9eed" providerId="ADAL" clId="{9AE733F7-683B-4AED-8EAC-2202FBFCBABB}" dt="2023-10-08T21:23:46.065" v="602" actId="21"/>
          <ac:spMkLst>
            <pc:docMk/>
            <pc:sldMk cId="4076760277" sldId="2147474224"/>
            <ac:spMk id="2" creationId="{2EB014D6-311A-E79A-2815-3CA420CEA953}"/>
          </ac:spMkLst>
        </pc:spChg>
        <pc:spChg chg="del">
          <ac:chgData name="Alexander Zap" userId="a7da462d-dcce-4fac-877b-2514b43c9eed" providerId="ADAL" clId="{9AE733F7-683B-4AED-8EAC-2202FBFCBABB}" dt="2023-10-08T21:23:42.992" v="601" actId="21"/>
          <ac:spMkLst>
            <pc:docMk/>
            <pc:sldMk cId="4076760277" sldId="2147474224"/>
            <ac:spMk id="3" creationId="{B5BD56A9-6C94-E660-6207-E41F779B46DC}"/>
          </ac:spMkLst>
        </pc:spChg>
        <pc:picChg chg="add">
          <ac:chgData name="Alexander Zap" userId="a7da462d-dcce-4fac-877b-2514b43c9eed" providerId="ADAL" clId="{9AE733F7-683B-4AED-8EAC-2202FBFCBABB}" dt="2023-10-10T00:21:47.407" v="625" actId="22"/>
          <ac:picMkLst>
            <pc:docMk/>
            <pc:sldMk cId="4076760277" sldId="2147474224"/>
            <ac:picMk id="3" creationId="{84A58DF1-030A-AAA5-DF0F-0F49ED9206D0}"/>
          </ac:picMkLst>
        </pc:picChg>
        <pc:picChg chg="add del mod modCrop">
          <ac:chgData name="Alexander Zap" userId="a7da462d-dcce-4fac-877b-2514b43c9eed" providerId="ADAL" clId="{9AE733F7-683B-4AED-8EAC-2202FBFCBABB}" dt="2023-10-10T00:21:50.611" v="626" actId="21"/>
          <ac:picMkLst>
            <pc:docMk/>
            <pc:sldMk cId="4076760277" sldId="2147474224"/>
            <ac:picMk id="6" creationId="{AD2F4A52-5430-7BD2-DE76-3FA97635A832}"/>
          </ac:picMkLst>
        </pc:picChg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240781366" sldId="2147474225"/>
        </pc:sldMkLst>
      </pc:sldChg>
      <pc:sldChg chg="add">
        <pc:chgData name="Alexander Zap" userId="a7da462d-dcce-4fac-877b-2514b43c9eed" providerId="ADAL" clId="{9AE733F7-683B-4AED-8EAC-2202FBFCBABB}" dt="2023-10-10T05:50:37.864" v="627"/>
        <pc:sldMkLst>
          <pc:docMk/>
          <pc:sldMk cId="1992574322" sldId="2147474225"/>
        </pc:sldMkLst>
      </pc:sldChg>
      <pc:sldChg chg="add del">
        <pc:chgData name="Alexander Zap" userId="a7da462d-dcce-4fac-877b-2514b43c9eed" providerId="ADAL" clId="{9AE733F7-683B-4AED-8EAC-2202FBFCBABB}" dt="2023-10-08T15:42:02.108" v="7" actId="2696"/>
        <pc:sldMkLst>
          <pc:docMk/>
          <pc:sldMk cId="893619956" sldId="2147474226"/>
        </pc:sldMkLst>
      </pc:sldChg>
      <pc:sldMasterChg chg="addSldLayout delSldLayout">
        <pc:chgData name="Alexander Zap" userId="a7da462d-dcce-4fac-877b-2514b43c9eed" providerId="ADAL" clId="{9AE733F7-683B-4AED-8EAC-2202FBFCBABB}" dt="2023-10-08T15:41:52.322" v="6" actId="2696"/>
        <pc:sldMasterMkLst>
          <pc:docMk/>
          <pc:sldMasterMk cId="888864847" sldId="2147483648"/>
        </pc:sldMasterMkLst>
        <pc:sldLayoutChg chg="add del">
          <pc:chgData name="Alexander Zap" userId="a7da462d-dcce-4fac-877b-2514b43c9eed" providerId="ADAL" clId="{9AE733F7-683B-4AED-8EAC-2202FBFCBABB}" dt="2023-10-08T15:41:52.322" v="6" actId="2696"/>
          <pc:sldLayoutMkLst>
            <pc:docMk/>
            <pc:sldMasterMk cId="888864847" sldId="2147483648"/>
            <pc:sldLayoutMk cId="860617747" sldId="2147483778"/>
          </pc:sldLayoutMkLst>
        </pc:sldLayoutChg>
      </pc:sldMasterChg>
    </pc:docChg>
  </pc:docChgLst>
  <pc:docChgLst>
    <pc:chgData name="Dr. Philipp Schwartenbeck" userId="75cb2592-e3eb-4a8b-a63b-7f57a1a2b71d" providerId="ADAL" clId="{D1E6AE1C-6008-C643-A24D-8C211200FA14}"/>
    <pc:docChg chg="undo redo custSel modSld">
      <pc:chgData name="Dr. Philipp Schwartenbeck" userId="75cb2592-e3eb-4a8b-a63b-7f57a1a2b71d" providerId="ADAL" clId="{D1E6AE1C-6008-C643-A24D-8C211200FA14}" dt="2023-09-22T09:06:25.776" v="50" actId="20577"/>
      <pc:docMkLst>
        <pc:docMk/>
      </pc:docMkLst>
      <pc:sldChg chg="modSp mod">
        <pc:chgData name="Dr. Philipp Schwartenbeck" userId="75cb2592-e3eb-4a8b-a63b-7f57a1a2b71d" providerId="ADAL" clId="{D1E6AE1C-6008-C643-A24D-8C211200FA14}" dt="2023-09-22T06:50:26.223" v="0" actId="14100"/>
        <pc:sldMkLst>
          <pc:docMk/>
          <pc:sldMk cId="2015962408" sldId="2147380540"/>
        </pc:sldMkLst>
        <pc:spChg chg="mod">
          <ac:chgData name="Dr. Philipp Schwartenbeck" userId="75cb2592-e3eb-4a8b-a63b-7f57a1a2b71d" providerId="ADAL" clId="{D1E6AE1C-6008-C643-A24D-8C211200FA14}" dt="2023-09-22T06:50:26.223" v="0" actId="14100"/>
          <ac:spMkLst>
            <pc:docMk/>
            <pc:sldMk cId="2015962408" sldId="2147380540"/>
            <ac:spMk id="12" creationId="{6E65F95D-04C9-A706-9CCC-A3C408FCAFB8}"/>
          </ac:spMkLst>
        </pc:spChg>
      </pc:sldChg>
      <pc:sldChg chg="modSp mod">
        <pc:chgData name="Dr. Philipp Schwartenbeck" userId="75cb2592-e3eb-4a8b-a63b-7f57a1a2b71d" providerId="ADAL" clId="{D1E6AE1C-6008-C643-A24D-8C211200FA14}" dt="2023-09-22T06:53:24.097" v="3" actId="20577"/>
        <pc:sldMkLst>
          <pc:docMk/>
          <pc:sldMk cId="3901275840" sldId="2147380552"/>
        </pc:sldMkLst>
        <pc:spChg chg="mod">
          <ac:chgData name="Dr. Philipp Schwartenbeck" userId="75cb2592-e3eb-4a8b-a63b-7f57a1a2b71d" providerId="ADAL" clId="{D1E6AE1C-6008-C643-A24D-8C211200FA14}" dt="2023-09-22T06:53:24.097" v="3" actId="20577"/>
          <ac:spMkLst>
            <pc:docMk/>
            <pc:sldMk cId="3901275840" sldId="2147380552"/>
            <ac:spMk id="20" creationId="{64BF02A9-59DF-756D-A2E6-D2EC63107628}"/>
          </ac:spMkLst>
        </pc:spChg>
        <pc:picChg chg="mod">
          <ac:chgData name="Dr. Philipp Schwartenbeck" userId="75cb2592-e3eb-4a8b-a63b-7f57a1a2b71d" providerId="ADAL" clId="{D1E6AE1C-6008-C643-A24D-8C211200FA14}" dt="2023-09-22T06:52:59.132" v="1" actId="14100"/>
          <ac:picMkLst>
            <pc:docMk/>
            <pc:sldMk cId="3901275840" sldId="2147380552"/>
            <ac:picMk id="8" creationId="{A7EC9E54-1E5F-8F9D-EB73-667B15E9E0C0}"/>
          </ac:picMkLst>
        </pc:picChg>
        <pc:picChg chg="mod">
          <ac:chgData name="Dr. Philipp Schwartenbeck" userId="75cb2592-e3eb-4a8b-a63b-7f57a1a2b71d" providerId="ADAL" clId="{D1E6AE1C-6008-C643-A24D-8C211200FA14}" dt="2023-09-22T06:53:02.813" v="2" actId="14100"/>
          <ac:picMkLst>
            <pc:docMk/>
            <pc:sldMk cId="3901275840" sldId="2147380552"/>
            <ac:picMk id="24" creationId="{836F0D3F-C5B4-83FA-7A5A-4B1BCE65D9ED}"/>
          </ac:picMkLst>
        </pc:picChg>
      </pc:sldChg>
      <pc:sldChg chg="modSp mod">
        <pc:chgData name="Dr. Philipp Schwartenbeck" userId="75cb2592-e3eb-4a8b-a63b-7f57a1a2b71d" providerId="ADAL" clId="{D1E6AE1C-6008-C643-A24D-8C211200FA14}" dt="2023-09-22T06:57:46.385" v="4" actId="20577"/>
        <pc:sldMkLst>
          <pc:docMk/>
          <pc:sldMk cId="2286908226" sldId="2147474050"/>
        </pc:sldMkLst>
        <pc:spChg chg="mod">
          <ac:chgData name="Dr. Philipp Schwartenbeck" userId="75cb2592-e3eb-4a8b-a63b-7f57a1a2b71d" providerId="ADAL" clId="{D1E6AE1C-6008-C643-A24D-8C211200FA14}" dt="2023-09-22T06:57:46.385" v="4" actId="20577"/>
          <ac:spMkLst>
            <pc:docMk/>
            <pc:sldMk cId="2286908226" sldId="2147474050"/>
            <ac:spMk id="29" creationId="{B35285B6-633C-D342-7102-9BE8F4624F62}"/>
          </ac:spMkLst>
        </pc:spChg>
      </pc:sldChg>
      <pc:sldChg chg="modSp mod">
        <pc:chgData name="Dr. Philipp Schwartenbeck" userId="75cb2592-e3eb-4a8b-a63b-7f57a1a2b71d" providerId="ADAL" clId="{D1E6AE1C-6008-C643-A24D-8C211200FA14}" dt="2023-09-22T09:06:25.776" v="50" actId="20577"/>
        <pc:sldMkLst>
          <pc:docMk/>
          <pc:sldMk cId="3496939702" sldId="2147474187"/>
        </pc:sldMkLst>
        <pc:spChg chg="mod">
          <ac:chgData name="Dr. Philipp Schwartenbeck" userId="75cb2592-e3eb-4a8b-a63b-7f57a1a2b71d" providerId="ADAL" clId="{D1E6AE1C-6008-C643-A24D-8C211200FA14}" dt="2023-09-22T09:06:25.776" v="50" actId="20577"/>
          <ac:spMkLst>
            <pc:docMk/>
            <pc:sldMk cId="3496939702" sldId="2147474187"/>
            <ac:spMk id="13" creationId="{89DD1218-B9A3-605C-D4DC-9E772CB11CC3}"/>
          </ac:spMkLst>
        </pc:spChg>
        <pc:picChg chg="mod">
          <ac:chgData name="Dr. Philipp Schwartenbeck" userId="75cb2592-e3eb-4a8b-a63b-7f57a1a2b71d" providerId="ADAL" clId="{D1E6AE1C-6008-C643-A24D-8C211200FA14}" dt="2023-09-22T09:05:43.285" v="25" actId="1076"/>
          <ac:picMkLst>
            <pc:docMk/>
            <pc:sldMk cId="3496939702" sldId="2147474187"/>
            <ac:picMk id="6" creationId="{3D041B6F-67EF-A990-96BC-544E8AE6E096}"/>
          </ac:picMkLst>
        </pc:picChg>
      </pc:sldChg>
    </pc:docChg>
  </pc:docChgLst>
  <pc:docChgLst>
    <pc:chgData name="Alexander Zap" userId="a7da462d-dcce-4fac-877b-2514b43c9eed" providerId="ADAL" clId="{DCC2DD3A-99B9-4B98-997A-D3EC3D66FEE9}"/>
    <pc:docChg chg="undo redo custSel addSld delSld modSld sldOrd delMainMaster">
      <pc:chgData name="Alexander Zap" userId="a7da462d-dcce-4fac-877b-2514b43c9eed" providerId="ADAL" clId="{DCC2DD3A-99B9-4B98-997A-D3EC3D66FEE9}" dt="2023-10-08T15:33:45.380" v="2542" actId="14100"/>
      <pc:docMkLst>
        <pc:docMk/>
      </pc:docMkLst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1584372604" sldId="2147379821"/>
        </pc:sldMkLst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2015962408" sldId="2147380540"/>
        </pc:sldMkLst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1901515038" sldId="2147380542"/>
        </pc:sldMkLst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2286070468" sldId="2147380547"/>
        </pc:sldMkLst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869705248" sldId="2147380551"/>
        </pc:sldMkLst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3901275840" sldId="2147380552"/>
        </pc:sldMkLst>
      </pc:sldChg>
      <pc:sldChg chg="modSp mod">
        <pc:chgData name="Alexander Zap" userId="a7da462d-dcce-4fac-877b-2514b43c9eed" providerId="ADAL" clId="{DCC2DD3A-99B9-4B98-997A-D3EC3D66FEE9}" dt="2023-10-08T07:47:05.319" v="177"/>
        <pc:sldMkLst>
          <pc:docMk/>
          <pc:sldMk cId="2687979824" sldId="2147380591"/>
        </pc:sldMkLst>
        <pc:spChg chg="mod">
          <ac:chgData name="Alexander Zap" userId="a7da462d-dcce-4fac-877b-2514b43c9eed" providerId="ADAL" clId="{DCC2DD3A-99B9-4B98-997A-D3EC3D66FEE9}" dt="2023-10-08T07:47:05.319" v="177"/>
          <ac:spMkLst>
            <pc:docMk/>
            <pc:sldMk cId="2687979824" sldId="2147380591"/>
            <ac:spMk id="22" creationId="{C2D4C324-E746-C5DE-4FC2-6FC2202DD44B}"/>
          </ac:spMkLst>
        </pc:spChg>
      </pc:sldChg>
      <pc:sldChg chg="addSp delSp modSp mod addAnim delAnim">
        <pc:chgData name="Alexander Zap" userId="a7da462d-dcce-4fac-877b-2514b43c9eed" providerId="ADAL" clId="{DCC2DD3A-99B9-4B98-997A-D3EC3D66FEE9}" dt="2023-10-08T15:18:10.183" v="2364" actId="1076"/>
        <pc:sldMkLst>
          <pc:docMk/>
          <pc:sldMk cId="4039674106" sldId="2147380592"/>
        </pc:sldMkLst>
        <pc:spChg chg="mod">
          <ac:chgData name="Alexander Zap" userId="a7da462d-dcce-4fac-877b-2514b43c9eed" providerId="ADAL" clId="{DCC2DD3A-99B9-4B98-997A-D3EC3D66FEE9}" dt="2023-10-08T07:47:09.092" v="178"/>
          <ac:spMkLst>
            <pc:docMk/>
            <pc:sldMk cId="4039674106" sldId="2147380592"/>
            <ac:spMk id="66" creationId="{504B803A-8757-26C7-90DB-551EED6A38AA}"/>
          </ac:spMkLst>
        </pc:spChg>
        <pc:picChg chg="add mod">
          <ac:chgData name="Alexander Zap" userId="a7da462d-dcce-4fac-877b-2514b43c9eed" providerId="ADAL" clId="{DCC2DD3A-99B9-4B98-997A-D3EC3D66FEE9}" dt="2023-10-08T09:27:38.444" v="1675" actId="1036"/>
          <ac:picMkLst>
            <pc:docMk/>
            <pc:sldMk cId="4039674106" sldId="2147380592"/>
            <ac:picMk id="7" creationId="{38C8FACC-A76A-108A-374B-8875B1FA000E}"/>
          </ac:picMkLst>
        </pc:picChg>
        <pc:picChg chg="add del mod">
          <ac:chgData name="Alexander Zap" userId="a7da462d-dcce-4fac-877b-2514b43c9eed" providerId="ADAL" clId="{DCC2DD3A-99B9-4B98-997A-D3EC3D66FEE9}" dt="2023-10-08T15:17:08.015" v="2351"/>
          <ac:picMkLst>
            <pc:docMk/>
            <pc:sldMk cId="4039674106" sldId="2147380592"/>
            <ac:picMk id="8" creationId="{E8E03C42-45A9-F30B-D870-36929BA52112}"/>
          </ac:picMkLst>
        </pc:picChg>
        <pc:picChg chg="add mod">
          <ac:chgData name="Alexander Zap" userId="a7da462d-dcce-4fac-877b-2514b43c9eed" providerId="ADAL" clId="{DCC2DD3A-99B9-4B98-997A-D3EC3D66FEE9}" dt="2023-10-08T09:27:34.551" v="1674" actId="14100"/>
          <ac:picMkLst>
            <pc:docMk/>
            <pc:sldMk cId="4039674106" sldId="2147380592"/>
            <ac:picMk id="9" creationId="{7B35CD51-4670-EB3D-5B86-161A73CA34F5}"/>
          </ac:picMkLst>
        </pc:picChg>
        <pc:picChg chg="add mod">
          <ac:chgData name="Alexander Zap" userId="a7da462d-dcce-4fac-877b-2514b43c9eed" providerId="ADAL" clId="{DCC2DD3A-99B9-4B98-997A-D3EC3D66FEE9}" dt="2023-10-08T15:18:10.183" v="2364" actId="1076"/>
          <ac:picMkLst>
            <pc:docMk/>
            <pc:sldMk cId="4039674106" sldId="2147380592"/>
            <ac:picMk id="11" creationId="{E1EDD4C7-67CA-60A1-0D1F-00A8241F6380}"/>
          </ac:picMkLst>
        </pc:picChg>
        <pc:picChg chg="del mod">
          <ac:chgData name="Alexander Zap" userId="a7da462d-dcce-4fac-877b-2514b43c9eed" providerId="ADAL" clId="{DCC2DD3A-99B9-4B98-997A-D3EC3D66FEE9}" dt="2023-10-08T09:27:11.702" v="1666" actId="478"/>
          <ac:picMkLst>
            <pc:docMk/>
            <pc:sldMk cId="4039674106" sldId="2147380592"/>
            <ac:picMk id="33" creationId="{9E87D04B-8998-9DB4-E126-5D2EB1574AC8}"/>
          </ac:picMkLst>
        </pc:picChg>
        <pc:picChg chg="add del mod">
          <ac:chgData name="Alexander Zap" userId="a7da462d-dcce-4fac-877b-2514b43c9eed" providerId="ADAL" clId="{DCC2DD3A-99B9-4B98-997A-D3EC3D66FEE9}" dt="2023-10-08T15:17:45.688" v="2356" actId="21"/>
          <ac:picMkLst>
            <pc:docMk/>
            <pc:sldMk cId="4039674106" sldId="2147380592"/>
            <ac:picMk id="35" creationId="{887EDC32-D28E-7E9D-5296-CC347E733217}"/>
          </ac:picMkLst>
        </pc:picChg>
      </pc:sldChg>
      <pc:sldChg chg="modSp mod modShow">
        <pc:chgData name="Alexander Zap" userId="a7da462d-dcce-4fac-877b-2514b43c9eed" providerId="ADAL" clId="{DCC2DD3A-99B9-4B98-997A-D3EC3D66FEE9}" dt="2023-10-08T11:43:13.407" v="2331" actId="729"/>
        <pc:sldMkLst>
          <pc:docMk/>
          <pc:sldMk cId="529223583" sldId="2147380594"/>
        </pc:sldMkLst>
        <pc:spChg chg="mod">
          <ac:chgData name="Alexander Zap" userId="a7da462d-dcce-4fac-877b-2514b43c9eed" providerId="ADAL" clId="{DCC2DD3A-99B9-4B98-997A-D3EC3D66FEE9}" dt="2023-10-08T07:47:35.278" v="181" actId="115"/>
          <ac:spMkLst>
            <pc:docMk/>
            <pc:sldMk cId="529223583" sldId="2147380594"/>
            <ac:spMk id="36" creationId="{35CE9583-3929-7421-EDAB-54A72258867C}"/>
          </ac:spMkLst>
        </pc:spChg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3753703809" sldId="2147380602"/>
        </pc:sldMkLst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2467466746" sldId="2147380603"/>
        </pc:sldMkLst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230114688" sldId="2147380604"/>
        </pc:sldMkLst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1315504289" sldId="2147380605"/>
        </pc:sldMkLst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3764195825" sldId="2147380606"/>
        </pc:sldMkLst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3668027630" sldId="2147380608"/>
        </pc:sldMkLst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4104786132" sldId="2147380611"/>
        </pc:sldMkLst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995426183" sldId="2147380612"/>
        </pc:sldMkLst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67283343" sldId="2147380613"/>
        </pc:sldMkLst>
      </pc:sldChg>
      <pc:sldChg chg="modSp mod">
        <pc:chgData name="Alexander Zap" userId="a7da462d-dcce-4fac-877b-2514b43c9eed" providerId="ADAL" clId="{DCC2DD3A-99B9-4B98-997A-D3EC3D66FEE9}" dt="2023-10-08T09:23:38.694" v="1664" actId="20577"/>
        <pc:sldMkLst>
          <pc:docMk/>
          <pc:sldMk cId="1921942787" sldId="2147380630"/>
        </pc:sldMkLst>
        <pc:spChg chg="mod">
          <ac:chgData name="Alexander Zap" userId="a7da462d-dcce-4fac-877b-2514b43c9eed" providerId="ADAL" clId="{DCC2DD3A-99B9-4B98-997A-D3EC3D66FEE9}" dt="2023-10-08T09:14:11.740" v="417" actId="6549"/>
          <ac:spMkLst>
            <pc:docMk/>
            <pc:sldMk cId="1921942787" sldId="2147380630"/>
            <ac:spMk id="6" creationId="{8AB946C7-E298-D323-4E35-A10CCD4465FE}"/>
          </ac:spMkLst>
        </pc:spChg>
        <pc:spChg chg="mod">
          <ac:chgData name="Alexander Zap" userId="a7da462d-dcce-4fac-877b-2514b43c9eed" providerId="ADAL" clId="{DCC2DD3A-99B9-4B98-997A-D3EC3D66FEE9}" dt="2023-10-08T09:13:45.684" v="258" actId="20577"/>
          <ac:spMkLst>
            <pc:docMk/>
            <pc:sldMk cId="1921942787" sldId="2147380630"/>
            <ac:spMk id="8" creationId="{9249DB86-D936-41B8-1F1B-EBD0DBC7D906}"/>
          </ac:spMkLst>
        </pc:spChg>
        <pc:spChg chg="mod">
          <ac:chgData name="Alexander Zap" userId="a7da462d-dcce-4fac-877b-2514b43c9eed" providerId="ADAL" clId="{DCC2DD3A-99B9-4B98-997A-D3EC3D66FEE9}" dt="2023-10-08T09:15:14.564" v="581" actId="20577"/>
          <ac:spMkLst>
            <pc:docMk/>
            <pc:sldMk cId="1921942787" sldId="2147380630"/>
            <ac:spMk id="10" creationId="{B50A8713-DAF3-69C3-FD7D-64DBE0494684}"/>
          </ac:spMkLst>
        </pc:spChg>
        <pc:spChg chg="mod">
          <ac:chgData name="Alexander Zap" userId="a7da462d-dcce-4fac-877b-2514b43c9eed" providerId="ADAL" clId="{DCC2DD3A-99B9-4B98-997A-D3EC3D66FEE9}" dt="2023-10-08T09:14:28.346" v="431" actId="20577"/>
          <ac:spMkLst>
            <pc:docMk/>
            <pc:sldMk cId="1921942787" sldId="2147380630"/>
            <ac:spMk id="11" creationId="{85DC1C51-D9BB-A7D0-F074-EE4466C97A9B}"/>
          </ac:spMkLst>
        </pc:spChg>
        <pc:spChg chg="mod">
          <ac:chgData name="Alexander Zap" userId="a7da462d-dcce-4fac-877b-2514b43c9eed" providerId="ADAL" clId="{DCC2DD3A-99B9-4B98-997A-D3EC3D66FEE9}" dt="2023-10-08T09:17:44.055" v="893" actId="403"/>
          <ac:spMkLst>
            <pc:docMk/>
            <pc:sldMk cId="1921942787" sldId="2147380630"/>
            <ac:spMk id="13" creationId="{D25F1584-89DB-AB0C-755E-98BFE69384CC}"/>
          </ac:spMkLst>
        </pc:spChg>
        <pc:spChg chg="mod">
          <ac:chgData name="Alexander Zap" userId="a7da462d-dcce-4fac-877b-2514b43c9eed" providerId="ADAL" clId="{DCC2DD3A-99B9-4B98-997A-D3EC3D66FEE9}" dt="2023-10-08T09:17:16.293" v="863" actId="1035"/>
          <ac:spMkLst>
            <pc:docMk/>
            <pc:sldMk cId="1921942787" sldId="2147380630"/>
            <ac:spMk id="14" creationId="{9C5E3769-2E02-1CA9-9E38-DB35740CE1AB}"/>
          </ac:spMkLst>
        </pc:spChg>
        <pc:spChg chg="mod">
          <ac:chgData name="Alexander Zap" userId="a7da462d-dcce-4fac-877b-2514b43c9eed" providerId="ADAL" clId="{DCC2DD3A-99B9-4B98-997A-D3EC3D66FEE9}" dt="2023-10-08T09:19:09.081" v="1064" actId="20577"/>
          <ac:spMkLst>
            <pc:docMk/>
            <pc:sldMk cId="1921942787" sldId="2147380630"/>
            <ac:spMk id="16" creationId="{480317DC-3C48-4627-BD93-D3035E8FA970}"/>
          </ac:spMkLst>
        </pc:spChg>
        <pc:spChg chg="mod">
          <ac:chgData name="Alexander Zap" userId="a7da462d-dcce-4fac-877b-2514b43c9eed" providerId="ADAL" clId="{DCC2DD3A-99B9-4B98-997A-D3EC3D66FEE9}" dt="2023-10-08T09:17:57.139" v="912" actId="20577"/>
          <ac:spMkLst>
            <pc:docMk/>
            <pc:sldMk cId="1921942787" sldId="2147380630"/>
            <ac:spMk id="17" creationId="{4A0633E0-7C9B-DAB5-4DE9-1557E9F1E780}"/>
          </ac:spMkLst>
        </pc:spChg>
        <pc:spChg chg="mod">
          <ac:chgData name="Alexander Zap" userId="a7da462d-dcce-4fac-877b-2514b43c9eed" providerId="ADAL" clId="{DCC2DD3A-99B9-4B98-997A-D3EC3D66FEE9}" dt="2023-10-08T09:23:30.046" v="1651" actId="20577"/>
          <ac:spMkLst>
            <pc:docMk/>
            <pc:sldMk cId="1921942787" sldId="2147380630"/>
            <ac:spMk id="19" creationId="{E0E6AB5C-8460-EF80-D602-79490C1C7911}"/>
          </ac:spMkLst>
        </pc:spChg>
        <pc:spChg chg="mod">
          <ac:chgData name="Alexander Zap" userId="a7da462d-dcce-4fac-877b-2514b43c9eed" providerId="ADAL" clId="{DCC2DD3A-99B9-4B98-997A-D3EC3D66FEE9}" dt="2023-10-08T09:19:24.983" v="1074" actId="20577"/>
          <ac:spMkLst>
            <pc:docMk/>
            <pc:sldMk cId="1921942787" sldId="2147380630"/>
            <ac:spMk id="20" creationId="{71509C89-8E89-1E69-E932-F786B29ED51F}"/>
          </ac:spMkLst>
        </pc:spChg>
        <pc:spChg chg="mod">
          <ac:chgData name="Alexander Zap" userId="a7da462d-dcce-4fac-877b-2514b43c9eed" providerId="ADAL" clId="{DCC2DD3A-99B9-4B98-997A-D3EC3D66FEE9}" dt="2023-10-08T09:23:38.694" v="1664" actId="20577"/>
          <ac:spMkLst>
            <pc:docMk/>
            <pc:sldMk cId="1921942787" sldId="2147380630"/>
            <ac:spMk id="42" creationId="{28CC8BA5-287F-6DC1-BE5A-1DA4386AD6E1}"/>
          </ac:spMkLst>
        </pc:spChg>
        <pc:cxnChg chg="mod">
          <ac:chgData name="Alexander Zap" userId="a7da462d-dcce-4fac-877b-2514b43c9eed" providerId="ADAL" clId="{DCC2DD3A-99B9-4B98-997A-D3EC3D66FEE9}" dt="2023-10-08T09:17:16.293" v="863" actId="1035"/>
          <ac:cxnSpMkLst>
            <pc:docMk/>
            <pc:sldMk cId="1921942787" sldId="2147380630"/>
            <ac:cxnSpMk id="31" creationId="{866EECAB-E775-16BA-B0E7-8020F7DA6A80}"/>
          </ac:cxnSpMkLst>
        </pc:cxnChg>
      </pc:sldChg>
      <pc:sldChg chg="del">
        <pc:chgData name="Alexander Zap" userId="a7da462d-dcce-4fac-877b-2514b43c9eed" providerId="ADAL" clId="{DCC2DD3A-99B9-4B98-997A-D3EC3D66FEE9}" dt="2023-10-07T11:07:03.260" v="1" actId="2696"/>
        <pc:sldMkLst>
          <pc:docMk/>
          <pc:sldMk cId="4050923714" sldId="2147380631"/>
        </pc:sldMkLst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791168512" sldId="2147380633"/>
        </pc:sldMkLst>
      </pc:sldChg>
      <pc:sldChg chg="del">
        <pc:chgData name="Alexander Zap" userId="a7da462d-dcce-4fac-877b-2514b43c9eed" providerId="ADAL" clId="{DCC2DD3A-99B9-4B98-997A-D3EC3D66FEE9}" dt="2023-10-07T17:05:26.973" v="25" actId="2696"/>
        <pc:sldMkLst>
          <pc:docMk/>
          <pc:sldMk cId="1914733516" sldId="2147474049"/>
        </pc:sldMkLst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2286908226" sldId="2147474050"/>
        </pc:sldMkLst>
      </pc:sldChg>
      <pc:sldChg chg="del">
        <pc:chgData name="Alexander Zap" userId="a7da462d-dcce-4fac-877b-2514b43c9eed" providerId="ADAL" clId="{DCC2DD3A-99B9-4B98-997A-D3EC3D66FEE9}" dt="2023-10-07T11:07:24.757" v="2" actId="2696"/>
        <pc:sldMkLst>
          <pc:docMk/>
          <pc:sldMk cId="3147768887" sldId="2147474113"/>
        </pc:sldMkLst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2526317171" sldId="2147474127"/>
        </pc:sldMkLst>
      </pc:sldChg>
      <pc:sldChg chg="modSp mod ord modShow">
        <pc:chgData name="Alexander Zap" userId="a7da462d-dcce-4fac-877b-2514b43c9eed" providerId="ADAL" clId="{DCC2DD3A-99B9-4B98-997A-D3EC3D66FEE9}" dt="2023-10-08T15:05:04.962" v="2333" actId="20577"/>
        <pc:sldMkLst>
          <pc:docMk/>
          <pc:sldMk cId="2602519265" sldId="2147474158"/>
        </pc:sldMkLst>
        <pc:spChg chg="mod">
          <ac:chgData name="Alexander Zap" userId="a7da462d-dcce-4fac-877b-2514b43c9eed" providerId="ADAL" clId="{DCC2DD3A-99B9-4B98-997A-D3EC3D66FEE9}" dt="2023-10-08T15:05:04.962" v="2333" actId="20577"/>
          <ac:spMkLst>
            <pc:docMk/>
            <pc:sldMk cId="2602519265" sldId="2147474158"/>
            <ac:spMk id="11" creationId="{BEC6A96B-F3CF-B9AF-5711-92FE0C77F037}"/>
          </ac:spMkLst>
        </pc:spChg>
      </pc:sldChg>
      <pc:sldChg chg="del">
        <pc:chgData name="Alexander Zap" userId="a7da462d-dcce-4fac-877b-2514b43c9eed" providerId="ADAL" clId="{DCC2DD3A-99B9-4B98-997A-D3EC3D66FEE9}" dt="2023-10-07T11:07:24.757" v="2" actId="2696"/>
        <pc:sldMkLst>
          <pc:docMk/>
          <pc:sldMk cId="1300840632" sldId="2147474159"/>
        </pc:sldMkLst>
      </pc:sldChg>
      <pc:sldChg chg="del">
        <pc:chgData name="Alexander Zap" userId="a7da462d-dcce-4fac-877b-2514b43c9eed" providerId="ADAL" clId="{DCC2DD3A-99B9-4B98-997A-D3EC3D66FEE9}" dt="2023-10-07T11:07:24.757" v="2" actId="2696"/>
        <pc:sldMkLst>
          <pc:docMk/>
          <pc:sldMk cId="3919079601" sldId="2147474160"/>
        </pc:sldMkLst>
      </pc:sldChg>
      <pc:sldChg chg="del">
        <pc:chgData name="Alexander Zap" userId="a7da462d-dcce-4fac-877b-2514b43c9eed" providerId="ADAL" clId="{DCC2DD3A-99B9-4B98-997A-D3EC3D66FEE9}" dt="2023-10-07T17:05:40.671" v="26" actId="2696"/>
        <pc:sldMkLst>
          <pc:docMk/>
          <pc:sldMk cId="3713310327" sldId="2147474186"/>
        </pc:sldMkLst>
      </pc:sldChg>
      <pc:sldChg chg="modSp mod">
        <pc:chgData name="Alexander Zap" userId="a7da462d-dcce-4fac-877b-2514b43c9eed" providerId="ADAL" clId="{DCC2DD3A-99B9-4B98-997A-D3EC3D66FEE9}" dt="2023-10-07T17:03:13.055" v="24" actId="20577"/>
        <pc:sldMkLst>
          <pc:docMk/>
          <pc:sldMk cId="3496939702" sldId="2147474187"/>
        </pc:sldMkLst>
        <pc:spChg chg="mod">
          <ac:chgData name="Alexander Zap" userId="a7da462d-dcce-4fac-877b-2514b43c9eed" providerId="ADAL" clId="{DCC2DD3A-99B9-4B98-997A-D3EC3D66FEE9}" dt="2023-10-07T17:02:55.046" v="10" actId="20577"/>
          <ac:spMkLst>
            <pc:docMk/>
            <pc:sldMk cId="3496939702" sldId="2147474187"/>
            <ac:spMk id="5" creationId="{17E89849-5509-B602-2504-D5CACB3F4A62}"/>
          </ac:spMkLst>
        </pc:spChg>
        <pc:spChg chg="mod">
          <ac:chgData name="Alexander Zap" userId="a7da462d-dcce-4fac-877b-2514b43c9eed" providerId="ADAL" clId="{DCC2DD3A-99B9-4B98-997A-D3EC3D66FEE9}" dt="2023-10-07T17:03:13.055" v="24" actId="20577"/>
          <ac:spMkLst>
            <pc:docMk/>
            <pc:sldMk cId="3496939702" sldId="2147474187"/>
            <ac:spMk id="13" creationId="{89DD1218-B9A3-605C-D4DC-9E772CB11CC3}"/>
          </ac:spMkLst>
        </pc:spChg>
      </pc:sldChg>
      <pc:sldChg chg="ord">
        <pc:chgData name="Alexander Zap" userId="a7da462d-dcce-4fac-877b-2514b43c9eed" providerId="ADAL" clId="{DCC2DD3A-99B9-4B98-997A-D3EC3D66FEE9}" dt="2023-10-08T11:31:30.547" v="2095" actId="20578"/>
        <pc:sldMkLst>
          <pc:docMk/>
          <pc:sldMk cId="3401788778" sldId="2147474188"/>
        </pc:sldMkLst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90380603" sldId="2147474192"/>
        </pc:sldMkLst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1717301285" sldId="2147474193"/>
        </pc:sldMkLst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1915395733" sldId="2147474194"/>
        </pc:sldMkLst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1432098837" sldId="2147474195"/>
        </pc:sldMkLst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3432130883" sldId="2147474196"/>
        </pc:sldMkLst>
      </pc:sldChg>
      <pc:sldChg chg="del">
        <pc:chgData name="Alexander Zap" userId="a7da462d-dcce-4fac-877b-2514b43c9eed" providerId="ADAL" clId="{DCC2DD3A-99B9-4B98-997A-D3EC3D66FEE9}" dt="2023-10-07T11:06:43.726" v="0" actId="2696"/>
        <pc:sldMkLst>
          <pc:docMk/>
          <pc:sldMk cId="658706799" sldId="2147474197"/>
        </pc:sldMkLst>
      </pc:sldChg>
      <pc:sldChg chg="del">
        <pc:chgData name="Alexander Zap" userId="a7da462d-dcce-4fac-877b-2514b43c9eed" providerId="ADAL" clId="{DCC2DD3A-99B9-4B98-997A-D3EC3D66FEE9}" dt="2023-10-07T11:07:35.079" v="3" actId="2696"/>
        <pc:sldMkLst>
          <pc:docMk/>
          <pc:sldMk cId="146431729" sldId="2147474201"/>
        </pc:sldMkLst>
      </pc:sldChg>
      <pc:sldChg chg="del">
        <pc:chgData name="Alexander Zap" userId="a7da462d-dcce-4fac-877b-2514b43c9eed" providerId="ADAL" clId="{DCC2DD3A-99B9-4B98-997A-D3EC3D66FEE9}" dt="2023-10-07T11:07:35.079" v="3" actId="2696"/>
        <pc:sldMkLst>
          <pc:docMk/>
          <pc:sldMk cId="3923792626" sldId="2147474202"/>
        </pc:sldMkLst>
      </pc:sldChg>
      <pc:sldChg chg="modSp mod modShow">
        <pc:chgData name="Alexander Zap" userId="a7da462d-dcce-4fac-877b-2514b43c9eed" providerId="ADAL" clId="{DCC2DD3A-99B9-4B98-997A-D3EC3D66FEE9}" dt="2023-10-08T11:43:13.407" v="2331" actId="729"/>
        <pc:sldMkLst>
          <pc:docMk/>
          <pc:sldMk cId="3383596191" sldId="2147474203"/>
        </pc:sldMkLst>
        <pc:spChg chg="mod">
          <ac:chgData name="Alexander Zap" userId="a7da462d-dcce-4fac-877b-2514b43c9eed" providerId="ADAL" clId="{DCC2DD3A-99B9-4B98-997A-D3EC3D66FEE9}" dt="2023-10-08T07:47:41.870" v="182" actId="115"/>
          <ac:spMkLst>
            <pc:docMk/>
            <pc:sldMk cId="3383596191" sldId="2147474203"/>
            <ac:spMk id="36" creationId="{35CE9583-3929-7421-EDAB-54A72258867C}"/>
          </ac:spMkLst>
        </pc:spChg>
        <pc:graphicFrameChg chg="modGraphic">
          <ac:chgData name="Alexander Zap" userId="a7da462d-dcce-4fac-877b-2514b43c9eed" providerId="ADAL" clId="{DCC2DD3A-99B9-4B98-997A-D3EC3D66FEE9}" dt="2023-10-08T07:47:56.282" v="184" actId="113"/>
          <ac:graphicFrameMkLst>
            <pc:docMk/>
            <pc:sldMk cId="3383596191" sldId="2147474203"/>
            <ac:graphicFrameMk id="34" creationId="{21F6C9A1-9B23-B47B-207A-5368BE5292A6}"/>
          </ac:graphicFrameMkLst>
        </pc:graphicFrameChg>
      </pc:sldChg>
      <pc:sldChg chg="addSp delSp modSp add mod ord">
        <pc:chgData name="Alexander Zap" userId="a7da462d-dcce-4fac-877b-2514b43c9eed" providerId="ADAL" clId="{DCC2DD3A-99B9-4B98-997A-D3EC3D66FEE9}" dt="2023-10-08T15:30:07.812" v="2509"/>
        <pc:sldMkLst>
          <pc:docMk/>
          <pc:sldMk cId="1400505674" sldId="2147474204"/>
        </pc:sldMkLst>
        <pc:spChg chg="del">
          <ac:chgData name="Alexander Zap" userId="a7da462d-dcce-4fac-877b-2514b43c9eed" providerId="ADAL" clId="{DCC2DD3A-99B9-4B98-997A-D3EC3D66FEE9}" dt="2023-10-08T07:25:18.820" v="59" actId="21"/>
          <ac:spMkLst>
            <pc:docMk/>
            <pc:sldMk cId="1400505674" sldId="2147474204"/>
            <ac:spMk id="5" creationId="{98876DDF-9B99-3A06-51C1-F597097780EF}"/>
          </ac:spMkLst>
        </pc:spChg>
        <pc:spChg chg="del">
          <ac:chgData name="Alexander Zap" userId="a7da462d-dcce-4fac-877b-2514b43c9eed" providerId="ADAL" clId="{DCC2DD3A-99B9-4B98-997A-D3EC3D66FEE9}" dt="2023-10-08T07:25:17.018" v="58" actId="21"/>
          <ac:spMkLst>
            <pc:docMk/>
            <pc:sldMk cId="1400505674" sldId="2147474204"/>
            <ac:spMk id="6" creationId="{8AB946C7-E298-D323-4E35-A10CCD4465FE}"/>
          </ac:spMkLst>
        </pc:spChg>
        <pc:spChg chg="del">
          <ac:chgData name="Alexander Zap" userId="a7da462d-dcce-4fac-877b-2514b43c9eed" providerId="ADAL" clId="{DCC2DD3A-99B9-4B98-997A-D3EC3D66FEE9}" dt="2023-10-08T07:25:17.018" v="58" actId="21"/>
          <ac:spMkLst>
            <pc:docMk/>
            <pc:sldMk cId="1400505674" sldId="2147474204"/>
            <ac:spMk id="7" creationId="{0F59A84E-3518-0F98-CF79-940F10A814F5}"/>
          </ac:spMkLst>
        </pc:spChg>
        <pc:spChg chg="add del">
          <ac:chgData name="Alexander Zap" userId="a7da462d-dcce-4fac-877b-2514b43c9eed" providerId="ADAL" clId="{DCC2DD3A-99B9-4B98-997A-D3EC3D66FEE9}" dt="2023-10-08T15:29:55.595" v="2505" actId="22"/>
          <ac:spMkLst>
            <pc:docMk/>
            <pc:sldMk cId="1400505674" sldId="2147474204"/>
            <ac:spMk id="7" creationId="{7F44F1BC-FE66-F8A6-45FA-873ADFB88E90}"/>
          </ac:spMkLst>
        </pc:spChg>
        <pc:spChg chg="mod">
          <ac:chgData name="Alexander Zap" userId="a7da462d-dcce-4fac-877b-2514b43c9eed" providerId="ADAL" clId="{DCC2DD3A-99B9-4B98-997A-D3EC3D66FEE9}" dt="2023-10-08T07:44:54.898" v="167" actId="20577"/>
          <ac:spMkLst>
            <pc:docMk/>
            <pc:sldMk cId="1400505674" sldId="2147474204"/>
            <ac:spMk id="8" creationId="{9249DB86-D936-41B8-1F1B-EBD0DBC7D906}"/>
          </ac:spMkLst>
        </pc:spChg>
        <pc:spChg chg="add del">
          <ac:chgData name="Alexander Zap" userId="a7da462d-dcce-4fac-877b-2514b43c9eed" providerId="ADAL" clId="{DCC2DD3A-99B9-4B98-997A-D3EC3D66FEE9}" dt="2023-10-08T15:29:59.342" v="2507" actId="22"/>
          <ac:spMkLst>
            <pc:docMk/>
            <pc:sldMk cId="1400505674" sldId="2147474204"/>
            <ac:spMk id="10" creationId="{7E1E26A3-40B2-8481-5D1F-A53A3C833F9F}"/>
          </ac:spMkLst>
        </pc:spChg>
        <pc:spChg chg="del">
          <ac:chgData name="Alexander Zap" userId="a7da462d-dcce-4fac-877b-2514b43c9eed" providerId="ADAL" clId="{DCC2DD3A-99B9-4B98-997A-D3EC3D66FEE9}" dt="2023-10-08T07:25:17.018" v="58" actId="21"/>
          <ac:spMkLst>
            <pc:docMk/>
            <pc:sldMk cId="1400505674" sldId="2147474204"/>
            <ac:spMk id="10" creationId="{B50A8713-DAF3-69C3-FD7D-64DBE0494684}"/>
          </ac:spMkLst>
        </pc:spChg>
        <pc:spChg chg="del">
          <ac:chgData name="Alexander Zap" userId="a7da462d-dcce-4fac-877b-2514b43c9eed" providerId="ADAL" clId="{DCC2DD3A-99B9-4B98-997A-D3EC3D66FEE9}" dt="2023-10-08T07:25:17.018" v="58" actId="21"/>
          <ac:spMkLst>
            <pc:docMk/>
            <pc:sldMk cId="1400505674" sldId="2147474204"/>
            <ac:spMk id="11" creationId="{85DC1C51-D9BB-A7D0-F074-EE4466C97A9B}"/>
          </ac:spMkLst>
        </pc:spChg>
        <pc:spChg chg="add mod">
          <ac:chgData name="Alexander Zap" userId="a7da462d-dcce-4fac-877b-2514b43c9eed" providerId="ADAL" clId="{DCC2DD3A-99B9-4B98-997A-D3EC3D66FEE9}" dt="2023-10-08T15:30:07.812" v="2509"/>
          <ac:spMkLst>
            <pc:docMk/>
            <pc:sldMk cId="1400505674" sldId="2147474204"/>
            <ac:spMk id="11" creationId="{AD4E3627-7D85-B13B-B630-7FD717916C57}"/>
          </ac:spMkLst>
        </pc:spChg>
        <pc:spChg chg="del">
          <ac:chgData name="Alexander Zap" userId="a7da462d-dcce-4fac-877b-2514b43c9eed" providerId="ADAL" clId="{DCC2DD3A-99B9-4B98-997A-D3EC3D66FEE9}" dt="2023-10-08T07:25:17.018" v="58" actId="21"/>
          <ac:spMkLst>
            <pc:docMk/>
            <pc:sldMk cId="1400505674" sldId="2147474204"/>
            <ac:spMk id="13" creationId="{D25F1584-89DB-AB0C-755E-98BFE69384CC}"/>
          </ac:spMkLst>
        </pc:spChg>
        <pc:spChg chg="del">
          <ac:chgData name="Alexander Zap" userId="a7da462d-dcce-4fac-877b-2514b43c9eed" providerId="ADAL" clId="{DCC2DD3A-99B9-4B98-997A-D3EC3D66FEE9}" dt="2023-10-08T07:25:17.018" v="58" actId="21"/>
          <ac:spMkLst>
            <pc:docMk/>
            <pc:sldMk cId="1400505674" sldId="2147474204"/>
            <ac:spMk id="14" creationId="{9C5E3769-2E02-1CA9-9E38-DB35740CE1AB}"/>
          </ac:spMkLst>
        </pc:spChg>
        <pc:spChg chg="del">
          <ac:chgData name="Alexander Zap" userId="a7da462d-dcce-4fac-877b-2514b43c9eed" providerId="ADAL" clId="{DCC2DD3A-99B9-4B98-997A-D3EC3D66FEE9}" dt="2023-10-08T07:25:17.018" v="58" actId="21"/>
          <ac:spMkLst>
            <pc:docMk/>
            <pc:sldMk cId="1400505674" sldId="2147474204"/>
            <ac:spMk id="16" creationId="{480317DC-3C48-4627-BD93-D3035E8FA970}"/>
          </ac:spMkLst>
        </pc:spChg>
        <pc:spChg chg="del">
          <ac:chgData name="Alexander Zap" userId="a7da462d-dcce-4fac-877b-2514b43c9eed" providerId="ADAL" clId="{DCC2DD3A-99B9-4B98-997A-D3EC3D66FEE9}" dt="2023-10-08T07:25:17.018" v="58" actId="21"/>
          <ac:spMkLst>
            <pc:docMk/>
            <pc:sldMk cId="1400505674" sldId="2147474204"/>
            <ac:spMk id="17" creationId="{4A0633E0-7C9B-DAB5-4DE9-1557E9F1E780}"/>
          </ac:spMkLst>
        </pc:spChg>
        <pc:spChg chg="del">
          <ac:chgData name="Alexander Zap" userId="a7da462d-dcce-4fac-877b-2514b43c9eed" providerId="ADAL" clId="{DCC2DD3A-99B9-4B98-997A-D3EC3D66FEE9}" dt="2023-10-08T07:25:17.018" v="58" actId="21"/>
          <ac:spMkLst>
            <pc:docMk/>
            <pc:sldMk cId="1400505674" sldId="2147474204"/>
            <ac:spMk id="19" creationId="{E0E6AB5C-8460-EF80-D602-79490C1C7911}"/>
          </ac:spMkLst>
        </pc:spChg>
        <pc:spChg chg="del">
          <ac:chgData name="Alexander Zap" userId="a7da462d-dcce-4fac-877b-2514b43c9eed" providerId="ADAL" clId="{DCC2DD3A-99B9-4B98-997A-D3EC3D66FEE9}" dt="2023-10-08T07:25:17.018" v="58" actId="21"/>
          <ac:spMkLst>
            <pc:docMk/>
            <pc:sldMk cId="1400505674" sldId="2147474204"/>
            <ac:spMk id="20" creationId="{71509C89-8E89-1E69-E932-F786B29ED51F}"/>
          </ac:spMkLst>
        </pc:spChg>
        <pc:spChg chg="del">
          <ac:chgData name="Alexander Zap" userId="a7da462d-dcce-4fac-877b-2514b43c9eed" providerId="ADAL" clId="{DCC2DD3A-99B9-4B98-997A-D3EC3D66FEE9}" dt="2023-10-08T07:25:17.018" v="58" actId="21"/>
          <ac:spMkLst>
            <pc:docMk/>
            <pc:sldMk cId="1400505674" sldId="2147474204"/>
            <ac:spMk id="21" creationId="{5F96965E-04B1-0201-A65E-4400B1A85CF5}"/>
          </ac:spMkLst>
        </pc:spChg>
        <pc:spChg chg="del">
          <ac:chgData name="Alexander Zap" userId="a7da462d-dcce-4fac-877b-2514b43c9eed" providerId="ADAL" clId="{DCC2DD3A-99B9-4B98-997A-D3EC3D66FEE9}" dt="2023-10-08T07:25:17.018" v="58" actId="21"/>
          <ac:spMkLst>
            <pc:docMk/>
            <pc:sldMk cId="1400505674" sldId="2147474204"/>
            <ac:spMk id="22" creationId="{1A2416B9-EA62-3343-B810-3B3727019841}"/>
          </ac:spMkLst>
        </pc:spChg>
        <pc:spChg chg="del">
          <ac:chgData name="Alexander Zap" userId="a7da462d-dcce-4fac-877b-2514b43c9eed" providerId="ADAL" clId="{DCC2DD3A-99B9-4B98-997A-D3EC3D66FEE9}" dt="2023-10-08T07:25:17.018" v="58" actId="21"/>
          <ac:spMkLst>
            <pc:docMk/>
            <pc:sldMk cId="1400505674" sldId="2147474204"/>
            <ac:spMk id="23" creationId="{B9799AB1-A35E-6ADD-4121-8298E9EAD4C0}"/>
          </ac:spMkLst>
        </pc:spChg>
        <pc:spChg chg="del">
          <ac:chgData name="Alexander Zap" userId="a7da462d-dcce-4fac-877b-2514b43c9eed" providerId="ADAL" clId="{DCC2DD3A-99B9-4B98-997A-D3EC3D66FEE9}" dt="2023-10-08T07:25:17.018" v="58" actId="21"/>
          <ac:spMkLst>
            <pc:docMk/>
            <pc:sldMk cId="1400505674" sldId="2147474204"/>
            <ac:spMk id="24" creationId="{C1DE4E6B-55A4-EF59-EAF0-BD5CE389ED08}"/>
          </ac:spMkLst>
        </pc:spChg>
        <pc:spChg chg="del">
          <ac:chgData name="Alexander Zap" userId="a7da462d-dcce-4fac-877b-2514b43c9eed" providerId="ADAL" clId="{DCC2DD3A-99B9-4B98-997A-D3EC3D66FEE9}" dt="2023-10-08T07:25:17.018" v="58" actId="21"/>
          <ac:spMkLst>
            <pc:docMk/>
            <pc:sldMk cId="1400505674" sldId="2147474204"/>
            <ac:spMk id="25" creationId="{149B3B19-176A-4E66-0F5D-52DBC254B526}"/>
          </ac:spMkLst>
        </pc:spChg>
        <pc:spChg chg="del">
          <ac:chgData name="Alexander Zap" userId="a7da462d-dcce-4fac-877b-2514b43c9eed" providerId="ADAL" clId="{DCC2DD3A-99B9-4B98-997A-D3EC3D66FEE9}" dt="2023-10-08T07:25:17.018" v="58" actId="21"/>
          <ac:spMkLst>
            <pc:docMk/>
            <pc:sldMk cId="1400505674" sldId="2147474204"/>
            <ac:spMk id="42" creationId="{28CC8BA5-287F-6DC1-BE5A-1DA4386AD6E1}"/>
          </ac:spMkLst>
        </pc:spChg>
        <pc:picChg chg="add del mod">
          <ac:chgData name="Alexander Zap" userId="a7da462d-dcce-4fac-877b-2514b43c9eed" providerId="ADAL" clId="{DCC2DD3A-99B9-4B98-997A-D3EC3D66FEE9}" dt="2023-10-08T09:44:11.946" v="1770" actId="21"/>
          <ac:picMkLst>
            <pc:docMk/>
            <pc:sldMk cId="1400505674" sldId="2147474204"/>
            <ac:picMk id="3" creationId="{DB291929-6723-90F6-827A-91125A2764D5}"/>
          </ac:picMkLst>
        </pc:picChg>
        <pc:picChg chg="add mod">
          <ac:chgData name="Alexander Zap" userId="a7da462d-dcce-4fac-877b-2514b43c9eed" providerId="ADAL" clId="{DCC2DD3A-99B9-4B98-997A-D3EC3D66FEE9}" dt="2023-10-08T09:44:21.971" v="1774" actId="14100"/>
          <ac:picMkLst>
            <pc:docMk/>
            <pc:sldMk cId="1400505674" sldId="2147474204"/>
            <ac:picMk id="5" creationId="{E72C7CD9-E229-31C6-0F8E-317D89CD89A1}"/>
          </ac:picMkLst>
        </pc:picChg>
        <pc:picChg chg="del">
          <ac:chgData name="Alexander Zap" userId="a7da462d-dcce-4fac-877b-2514b43c9eed" providerId="ADAL" clId="{DCC2DD3A-99B9-4B98-997A-D3EC3D66FEE9}" dt="2023-10-08T07:25:17.018" v="58" actId="21"/>
          <ac:picMkLst>
            <pc:docMk/>
            <pc:sldMk cId="1400505674" sldId="2147474204"/>
            <ac:picMk id="56" creationId="{FA4D2B70-0AD4-BFE5-5D7F-36C929C44463}"/>
          </ac:picMkLst>
        </pc:picChg>
        <pc:picChg chg="del">
          <ac:chgData name="Alexander Zap" userId="a7da462d-dcce-4fac-877b-2514b43c9eed" providerId="ADAL" clId="{DCC2DD3A-99B9-4B98-997A-D3EC3D66FEE9}" dt="2023-10-08T07:25:17.018" v="58" actId="21"/>
          <ac:picMkLst>
            <pc:docMk/>
            <pc:sldMk cId="1400505674" sldId="2147474204"/>
            <ac:picMk id="58" creationId="{6B5E6CC3-C383-8269-7266-9D52CD8482DB}"/>
          </ac:picMkLst>
        </pc:picChg>
        <pc:picChg chg="del">
          <ac:chgData name="Alexander Zap" userId="a7da462d-dcce-4fac-877b-2514b43c9eed" providerId="ADAL" clId="{DCC2DD3A-99B9-4B98-997A-D3EC3D66FEE9}" dt="2023-10-08T07:25:17.018" v="58" actId="21"/>
          <ac:picMkLst>
            <pc:docMk/>
            <pc:sldMk cId="1400505674" sldId="2147474204"/>
            <ac:picMk id="60" creationId="{6B03FB5B-B9C7-0B53-0FE6-6A33FD28D0F8}"/>
          </ac:picMkLst>
        </pc:picChg>
        <pc:picChg chg="del">
          <ac:chgData name="Alexander Zap" userId="a7da462d-dcce-4fac-877b-2514b43c9eed" providerId="ADAL" clId="{DCC2DD3A-99B9-4B98-997A-D3EC3D66FEE9}" dt="2023-10-08T07:25:17.018" v="58" actId="21"/>
          <ac:picMkLst>
            <pc:docMk/>
            <pc:sldMk cId="1400505674" sldId="2147474204"/>
            <ac:picMk id="62" creationId="{00073308-E290-4724-130C-D58BD068BCA0}"/>
          </ac:picMkLst>
        </pc:picChg>
        <pc:picChg chg="del">
          <ac:chgData name="Alexander Zap" userId="a7da462d-dcce-4fac-877b-2514b43c9eed" providerId="ADAL" clId="{DCC2DD3A-99B9-4B98-997A-D3EC3D66FEE9}" dt="2023-10-08T07:25:17.018" v="58" actId="21"/>
          <ac:picMkLst>
            <pc:docMk/>
            <pc:sldMk cId="1400505674" sldId="2147474204"/>
            <ac:picMk id="1024" creationId="{FA2BB7EF-65E4-6ACB-10DD-77AE6DBD3BF5}"/>
          </ac:picMkLst>
        </pc:picChg>
        <pc:cxnChg chg="del mod">
          <ac:chgData name="Alexander Zap" userId="a7da462d-dcce-4fac-877b-2514b43c9eed" providerId="ADAL" clId="{DCC2DD3A-99B9-4B98-997A-D3EC3D66FEE9}" dt="2023-10-08T07:25:17.018" v="58" actId="21"/>
          <ac:cxnSpMkLst>
            <pc:docMk/>
            <pc:sldMk cId="1400505674" sldId="2147474204"/>
            <ac:cxnSpMk id="27" creationId="{00B5EC4B-5A31-B3CB-5BB2-A9CA21C10CB6}"/>
          </ac:cxnSpMkLst>
        </pc:cxnChg>
        <pc:cxnChg chg="del mod">
          <ac:chgData name="Alexander Zap" userId="a7da462d-dcce-4fac-877b-2514b43c9eed" providerId="ADAL" clId="{DCC2DD3A-99B9-4B98-997A-D3EC3D66FEE9}" dt="2023-10-08T07:25:17.018" v="58" actId="21"/>
          <ac:cxnSpMkLst>
            <pc:docMk/>
            <pc:sldMk cId="1400505674" sldId="2147474204"/>
            <ac:cxnSpMk id="28" creationId="{E68ED9B8-7B09-1875-DFBF-44E882679FF9}"/>
          </ac:cxnSpMkLst>
        </pc:cxnChg>
        <pc:cxnChg chg="del mod">
          <ac:chgData name="Alexander Zap" userId="a7da462d-dcce-4fac-877b-2514b43c9eed" providerId="ADAL" clId="{DCC2DD3A-99B9-4B98-997A-D3EC3D66FEE9}" dt="2023-10-08T07:25:17.018" v="58" actId="21"/>
          <ac:cxnSpMkLst>
            <pc:docMk/>
            <pc:sldMk cId="1400505674" sldId="2147474204"/>
            <ac:cxnSpMk id="31" creationId="{866EECAB-E775-16BA-B0E7-8020F7DA6A80}"/>
          </ac:cxnSpMkLst>
        </pc:cxnChg>
        <pc:cxnChg chg="del mod">
          <ac:chgData name="Alexander Zap" userId="a7da462d-dcce-4fac-877b-2514b43c9eed" providerId="ADAL" clId="{DCC2DD3A-99B9-4B98-997A-D3EC3D66FEE9}" dt="2023-10-08T07:25:17.018" v="58" actId="21"/>
          <ac:cxnSpMkLst>
            <pc:docMk/>
            <pc:sldMk cId="1400505674" sldId="2147474204"/>
            <ac:cxnSpMk id="34" creationId="{ADEA8C1F-5DEA-B01E-B6A2-C6F927B20DDC}"/>
          </ac:cxnSpMkLst>
        </pc:cxnChg>
        <pc:cxnChg chg="del mod">
          <ac:chgData name="Alexander Zap" userId="a7da462d-dcce-4fac-877b-2514b43c9eed" providerId="ADAL" clId="{DCC2DD3A-99B9-4B98-997A-D3EC3D66FEE9}" dt="2023-10-08T07:25:17.018" v="58" actId="21"/>
          <ac:cxnSpMkLst>
            <pc:docMk/>
            <pc:sldMk cId="1400505674" sldId="2147474204"/>
            <ac:cxnSpMk id="37" creationId="{7E71708A-362E-5DAA-3AA2-2B9EC375E0F5}"/>
          </ac:cxnSpMkLst>
        </pc:cxnChg>
      </pc:sldChg>
      <pc:sldChg chg="add del setBg">
        <pc:chgData name="Alexander Zap" userId="a7da462d-dcce-4fac-877b-2514b43c9eed" providerId="ADAL" clId="{DCC2DD3A-99B9-4B98-997A-D3EC3D66FEE9}" dt="2023-10-08T07:25:01.282" v="32"/>
        <pc:sldMkLst>
          <pc:docMk/>
          <pc:sldMk cId="2091053791" sldId="2147474204"/>
        </pc:sldMkLst>
      </pc:sldChg>
      <pc:sldChg chg="new del">
        <pc:chgData name="Alexander Zap" userId="a7da462d-dcce-4fac-877b-2514b43c9eed" providerId="ADAL" clId="{DCC2DD3A-99B9-4B98-997A-D3EC3D66FEE9}" dt="2023-10-08T07:24:55.580" v="30" actId="2696"/>
        <pc:sldMkLst>
          <pc:docMk/>
          <pc:sldMk cId="4044050057" sldId="2147474204"/>
        </pc:sldMkLst>
      </pc:sldChg>
      <pc:sldChg chg="add del setBg">
        <pc:chgData name="Alexander Zap" userId="a7da462d-dcce-4fac-877b-2514b43c9eed" providerId="ADAL" clId="{DCC2DD3A-99B9-4B98-997A-D3EC3D66FEE9}" dt="2023-10-08T07:41:33.063" v="106"/>
        <pc:sldMkLst>
          <pc:docMk/>
          <pc:sldMk cId="68847326" sldId="2147474205"/>
        </pc:sldMkLst>
      </pc:sldChg>
      <pc:sldChg chg="addSp modSp add mod ord">
        <pc:chgData name="Alexander Zap" userId="a7da462d-dcce-4fac-877b-2514b43c9eed" providerId="ADAL" clId="{DCC2DD3A-99B9-4B98-997A-D3EC3D66FEE9}" dt="2023-10-08T15:24:52.702" v="2454"/>
        <pc:sldMkLst>
          <pc:docMk/>
          <pc:sldMk cId="2137369348" sldId="2147474205"/>
        </pc:sldMkLst>
        <pc:spChg chg="add mod">
          <ac:chgData name="Alexander Zap" userId="a7da462d-dcce-4fac-877b-2514b43c9eed" providerId="ADAL" clId="{DCC2DD3A-99B9-4B98-997A-D3EC3D66FEE9}" dt="2023-10-08T15:24:52.702" v="2454"/>
          <ac:spMkLst>
            <pc:docMk/>
            <pc:sldMk cId="2137369348" sldId="2147474205"/>
            <ac:spMk id="2" creationId="{C00EAD55-2206-9009-C55B-4A48EAC80625}"/>
          </ac:spMkLst>
        </pc:spChg>
        <pc:spChg chg="mod">
          <ac:chgData name="Alexander Zap" userId="a7da462d-dcce-4fac-877b-2514b43c9eed" providerId="ADAL" clId="{DCC2DD3A-99B9-4B98-997A-D3EC3D66FEE9}" dt="2023-10-08T09:31:43.609" v="1764"/>
          <ac:spMkLst>
            <pc:docMk/>
            <pc:sldMk cId="2137369348" sldId="2147474205"/>
            <ac:spMk id="8" creationId="{9249DB86-D936-41B8-1F1B-EBD0DBC7D906}"/>
          </ac:spMkLst>
        </pc:spChg>
        <pc:picChg chg="add mod">
          <ac:chgData name="Alexander Zap" userId="a7da462d-dcce-4fac-877b-2514b43c9eed" providerId="ADAL" clId="{DCC2DD3A-99B9-4B98-997A-D3EC3D66FEE9}" dt="2023-10-08T07:43:56.006" v="127" actId="14100"/>
          <ac:picMkLst>
            <pc:docMk/>
            <pc:sldMk cId="2137369348" sldId="2147474205"/>
            <ac:picMk id="3" creationId="{7E648A22-B9ED-94A7-D6C1-EDF6B28D1C7A}"/>
          </ac:picMkLst>
        </pc:picChg>
      </pc:sldChg>
      <pc:sldChg chg="add del setBg">
        <pc:chgData name="Alexander Zap" userId="a7da462d-dcce-4fac-877b-2514b43c9eed" providerId="ADAL" clId="{DCC2DD3A-99B9-4B98-997A-D3EC3D66FEE9}" dt="2023-10-08T07:41:32.753" v="105"/>
        <pc:sldMkLst>
          <pc:docMk/>
          <pc:sldMk cId="3051990450" sldId="2147474206"/>
        </pc:sldMkLst>
      </pc:sldChg>
      <pc:sldChg chg="addSp delSp modSp add mod ord">
        <pc:chgData name="Alexander Zap" userId="a7da462d-dcce-4fac-877b-2514b43c9eed" providerId="ADAL" clId="{DCC2DD3A-99B9-4B98-997A-D3EC3D66FEE9}" dt="2023-10-08T15:24:44.862" v="2453"/>
        <pc:sldMkLst>
          <pc:docMk/>
          <pc:sldMk cId="3685096933" sldId="2147474206"/>
        </pc:sldMkLst>
        <pc:spChg chg="add mod">
          <ac:chgData name="Alexander Zap" userId="a7da462d-dcce-4fac-877b-2514b43c9eed" providerId="ADAL" clId="{DCC2DD3A-99B9-4B98-997A-D3EC3D66FEE9}" dt="2023-10-08T15:24:44.862" v="2453"/>
          <ac:spMkLst>
            <pc:docMk/>
            <pc:sldMk cId="3685096933" sldId="2147474206"/>
            <ac:spMk id="7" creationId="{1D5E9005-7660-FFC2-3CF2-5A0536D0F43C}"/>
          </ac:spMkLst>
        </pc:spChg>
        <pc:spChg chg="mod">
          <ac:chgData name="Alexander Zap" userId="a7da462d-dcce-4fac-877b-2514b43c9eed" providerId="ADAL" clId="{DCC2DD3A-99B9-4B98-997A-D3EC3D66FEE9}" dt="2023-10-08T09:31:36.598" v="1763" actId="20577"/>
          <ac:spMkLst>
            <pc:docMk/>
            <pc:sldMk cId="3685096933" sldId="2147474206"/>
            <ac:spMk id="8" creationId="{9249DB86-D936-41B8-1F1B-EBD0DBC7D906}"/>
          </ac:spMkLst>
        </pc:spChg>
        <pc:picChg chg="add del mod">
          <ac:chgData name="Alexander Zap" userId="a7da462d-dcce-4fac-877b-2514b43c9eed" providerId="ADAL" clId="{DCC2DD3A-99B9-4B98-997A-D3EC3D66FEE9}" dt="2023-10-08T15:22:51.453" v="2411"/>
          <ac:picMkLst>
            <pc:docMk/>
            <pc:sldMk cId="3685096933" sldId="2147474206"/>
            <ac:picMk id="2" creationId="{08F1CE79-6DFD-A6F8-1A41-3CDD2F3C5ABD}"/>
          </ac:picMkLst>
        </pc:picChg>
        <pc:picChg chg="add mod">
          <ac:chgData name="Alexander Zap" userId="a7da462d-dcce-4fac-877b-2514b43c9eed" providerId="ADAL" clId="{DCC2DD3A-99B9-4B98-997A-D3EC3D66FEE9}" dt="2023-10-08T07:43:14.461" v="123" actId="14100"/>
          <ac:picMkLst>
            <pc:docMk/>
            <pc:sldMk cId="3685096933" sldId="2147474206"/>
            <ac:picMk id="3" creationId="{2C0C0958-D6A2-3971-F935-5A357913B865}"/>
          </ac:picMkLst>
        </pc:picChg>
        <pc:picChg chg="add del">
          <ac:chgData name="Alexander Zap" userId="a7da462d-dcce-4fac-877b-2514b43c9eed" providerId="ADAL" clId="{DCC2DD3A-99B9-4B98-997A-D3EC3D66FEE9}" dt="2023-10-08T15:22:55.074" v="2413"/>
          <ac:picMkLst>
            <pc:docMk/>
            <pc:sldMk cId="3685096933" sldId="2147474206"/>
            <ac:picMk id="5" creationId="{B7C33CF6-0B68-A5D9-017A-3420804744C9}"/>
          </ac:picMkLst>
        </pc:picChg>
        <pc:picChg chg="add del mod">
          <ac:chgData name="Alexander Zap" userId="a7da462d-dcce-4fac-877b-2514b43c9eed" providerId="ADAL" clId="{DCC2DD3A-99B9-4B98-997A-D3EC3D66FEE9}" dt="2023-10-08T15:24:25.136" v="2451" actId="21"/>
          <ac:picMkLst>
            <pc:docMk/>
            <pc:sldMk cId="3685096933" sldId="2147474206"/>
            <ac:picMk id="6" creationId="{3067AEA4-92FA-4BF3-0E69-CEE0C383BC8B}"/>
          </ac:picMkLst>
        </pc:picChg>
      </pc:sldChg>
      <pc:sldChg chg="add del setBg">
        <pc:chgData name="Alexander Zap" userId="a7da462d-dcce-4fac-877b-2514b43c9eed" providerId="ADAL" clId="{DCC2DD3A-99B9-4B98-997A-D3EC3D66FEE9}" dt="2023-10-08T07:41:32.010" v="104"/>
        <pc:sldMkLst>
          <pc:docMk/>
          <pc:sldMk cId="1907538325" sldId="2147474207"/>
        </pc:sldMkLst>
      </pc:sldChg>
      <pc:sldChg chg="addSp delSp modSp add mod ord">
        <pc:chgData name="Alexander Zap" userId="a7da462d-dcce-4fac-877b-2514b43c9eed" providerId="ADAL" clId="{DCC2DD3A-99B9-4B98-997A-D3EC3D66FEE9}" dt="2023-10-08T15:24:03.438" v="2431" actId="21"/>
        <pc:sldMkLst>
          <pc:docMk/>
          <pc:sldMk cId="3295899032" sldId="2147474207"/>
        </pc:sldMkLst>
        <pc:spChg chg="add del">
          <ac:chgData name="Alexander Zap" userId="a7da462d-dcce-4fac-877b-2514b43c9eed" providerId="ADAL" clId="{DCC2DD3A-99B9-4B98-997A-D3EC3D66FEE9}" dt="2023-10-08T15:21:41.615" v="2389" actId="22"/>
          <ac:spMkLst>
            <pc:docMk/>
            <pc:sldMk cId="3295899032" sldId="2147474207"/>
            <ac:spMk id="5" creationId="{DF1D4C78-15E0-27C4-6A00-D9ECD8728DBC}"/>
          </ac:spMkLst>
        </pc:spChg>
        <pc:spChg chg="add del">
          <ac:chgData name="Alexander Zap" userId="a7da462d-dcce-4fac-877b-2514b43c9eed" providerId="ADAL" clId="{DCC2DD3A-99B9-4B98-997A-D3EC3D66FEE9}" dt="2023-10-08T15:21:43.361" v="2391" actId="22"/>
          <ac:spMkLst>
            <pc:docMk/>
            <pc:sldMk cId="3295899032" sldId="2147474207"/>
            <ac:spMk id="7" creationId="{F206D15F-7E29-99A2-A59D-2A1E775A73ED}"/>
          </ac:spMkLst>
        </pc:spChg>
        <pc:spChg chg="mod">
          <ac:chgData name="Alexander Zap" userId="a7da462d-dcce-4fac-877b-2514b43c9eed" providerId="ADAL" clId="{DCC2DD3A-99B9-4B98-997A-D3EC3D66FEE9}" dt="2023-10-08T09:30:50.456" v="1735" actId="1076"/>
          <ac:spMkLst>
            <pc:docMk/>
            <pc:sldMk cId="3295899032" sldId="2147474207"/>
            <ac:spMk id="8" creationId="{9249DB86-D936-41B8-1F1B-EBD0DBC7D906}"/>
          </ac:spMkLst>
        </pc:spChg>
        <pc:spChg chg="add del">
          <ac:chgData name="Alexander Zap" userId="a7da462d-dcce-4fac-877b-2514b43c9eed" providerId="ADAL" clId="{DCC2DD3A-99B9-4B98-997A-D3EC3D66FEE9}" dt="2023-10-08T15:21:52.289" v="2393" actId="22"/>
          <ac:spMkLst>
            <pc:docMk/>
            <pc:sldMk cId="3295899032" sldId="2147474207"/>
            <ac:spMk id="10" creationId="{F3AB9346-1A08-15DF-A477-E1248549AE01}"/>
          </ac:spMkLst>
        </pc:spChg>
        <pc:spChg chg="add del">
          <ac:chgData name="Alexander Zap" userId="a7da462d-dcce-4fac-877b-2514b43c9eed" providerId="ADAL" clId="{DCC2DD3A-99B9-4B98-997A-D3EC3D66FEE9}" dt="2023-10-08T15:22:03.011" v="2395" actId="22"/>
          <ac:spMkLst>
            <pc:docMk/>
            <pc:sldMk cId="3295899032" sldId="2147474207"/>
            <ac:spMk id="12" creationId="{35D6123F-A638-01D9-5663-67F143BC0DCE}"/>
          </ac:spMkLst>
        </pc:spChg>
        <pc:spChg chg="add del mod">
          <ac:chgData name="Alexander Zap" userId="a7da462d-dcce-4fac-877b-2514b43c9eed" providerId="ADAL" clId="{DCC2DD3A-99B9-4B98-997A-D3EC3D66FEE9}" dt="2023-10-08T15:24:03.438" v="2431" actId="21"/>
          <ac:spMkLst>
            <pc:docMk/>
            <pc:sldMk cId="3295899032" sldId="2147474207"/>
            <ac:spMk id="16" creationId="{2E25DDEA-D75B-696F-6E41-090BA50A3211}"/>
          </ac:spMkLst>
        </pc:spChg>
        <pc:picChg chg="add mod">
          <ac:chgData name="Alexander Zap" userId="a7da462d-dcce-4fac-877b-2514b43c9eed" providerId="ADAL" clId="{DCC2DD3A-99B9-4B98-997A-D3EC3D66FEE9}" dt="2023-10-08T07:42:08.012" v="116" actId="14100"/>
          <ac:picMkLst>
            <pc:docMk/>
            <pc:sldMk cId="3295899032" sldId="2147474207"/>
            <ac:picMk id="3" creationId="{1AA716A5-D85C-AD2E-35DF-18F9F4236A89}"/>
          </ac:picMkLst>
        </pc:picChg>
        <pc:picChg chg="add del mod">
          <ac:chgData name="Alexander Zap" userId="a7da462d-dcce-4fac-877b-2514b43c9eed" providerId="ADAL" clId="{DCC2DD3A-99B9-4B98-997A-D3EC3D66FEE9}" dt="2023-10-08T15:22:21.281" v="2399" actId="21"/>
          <ac:picMkLst>
            <pc:docMk/>
            <pc:sldMk cId="3295899032" sldId="2147474207"/>
            <ac:picMk id="14" creationId="{D825F244-9FD6-80DD-C171-D012D364FCFF}"/>
          </ac:picMkLst>
        </pc:picChg>
        <pc:picChg chg="add del mod">
          <ac:chgData name="Alexander Zap" userId="a7da462d-dcce-4fac-877b-2514b43c9eed" providerId="ADAL" clId="{DCC2DD3A-99B9-4B98-997A-D3EC3D66FEE9}" dt="2023-10-08T15:23:45.276" v="2419" actId="21"/>
          <ac:picMkLst>
            <pc:docMk/>
            <pc:sldMk cId="3295899032" sldId="2147474207"/>
            <ac:picMk id="17" creationId="{9290EFE6-0880-4F6C-6110-9134EE3D8A66}"/>
          </ac:picMkLst>
        </pc:picChg>
        <pc:picChg chg="add del mod">
          <ac:chgData name="Alexander Zap" userId="a7da462d-dcce-4fac-877b-2514b43c9eed" providerId="ADAL" clId="{DCC2DD3A-99B9-4B98-997A-D3EC3D66FEE9}" dt="2023-10-08T15:24:03.137" v="2430"/>
          <ac:picMkLst>
            <pc:docMk/>
            <pc:sldMk cId="3295899032" sldId="2147474207"/>
            <ac:picMk id="18" creationId="{B453083F-AA81-40EE-1B7F-E15ABE6CDD60}"/>
          </ac:picMkLst>
        </pc:picChg>
      </pc:sldChg>
      <pc:sldChg chg="add del">
        <pc:chgData name="Alexander Zap" userId="a7da462d-dcce-4fac-877b-2514b43c9eed" providerId="ADAL" clId="{DCC2DD3A-99B9-4B98-997A-D3EC3D66FEE9}" dt="2023-10-08T09:35:30.047" v="1765" actId="2696"/>
        <pc:sldMkLst>
          <pc:docMk/>
          <pc:sldMk cId="676263615" sldId="2147474208"/>
        </pc:sldMkLst>
      </pc:sldChg>
      <pc:sldChg chg="add del setBg">
        <pc:chgData name="Alexander Zap" userId="a7da462d-dcce-4fac-877b-2514b43c9eed" providerId="ADAL" clId="{DCC2DD3A-99B9-4B98-997A-D3EC3D66FEE9}" dt="2023-10-08T09:44:08.297" v="1768"/>
        <pc:sldMkLst>
          <pc:docMk/>
          <pc:sldMk cId="973095573" sldId="2147474208"/>
        </pc:sldMkLst>
      </pc:sldChg>
      <pc:sldChg chg="addSp delSp modSp add mod">
        <pc:chgData name="Alexander Zap" userId="a7da462d-dcce-4fac-877b-2514b43c9eed" providerId="ADAL" clId="{DCC2DD3A-99B9-4B98-997A-D3EC3D66FEE9}" dt="2023-10-08T15:24:34.371" v="2452"/>
        <pc:sldMkLst>
          <pc:docMk/>
          <pc:sldMk cId="3531290962" sldId="2147474208"/>
        </pc:sldMkLst>
        <pc:spChg chg="add del mod">
          <ac:chgData name="Alexander Zap" userId="a7da462d-dcce-4fac-877b-2514b43c9eed" providerId="ADAL" clId="{DCC2DD3A-99B9-4B98-997A-D3EC3D66FEE9}" dt="2023-10-08T15:23:31.100" v="2418" actId="21"/>
          <ac:spMkLst>
            <pc:docMk/>
            <pc:sldMk cId="3531290962" sldId="2147474208"/>
            <ac:spMk id="2" creationId="{98869CDA-5B89-C534-9892-3C277C4BC481}"/>
          </ac:spMkLst>
        </pc:spChg>
        <pc:spChg chg="add del">
          <ac:chgData name="Alexander Zap" userId="a7da462d-dcce-4fac-877b-2514b43c9eed" providerId="ADAL" clId="{DCC2DD3A-99B9-4B98-997A-D3EC3D66FEE9}" dt="2023-10-08T15:24:08.368" v="2433" actId="22"/>
          <ac:spMkLst>
            <pc:docMk/>
            <pc:sldMk cId="3531290962" sldId="2147474208"/>
            <ac:spMk id="9" creationId="{528AB419-A05F-635A-F157-6B0EFF6BD4B6}"/>
          </ac:spMkLst>
        </pc:spChg>
        <pc:spChg chg="add del mod">
          <ac:chgData name="Alexander Zap" userId="a7da462d-dcce-4fac-877b-2514b43c9eed" providerId="ADAL" clId="{DCC2DD3A-99B9-4B98-997A-D3EC3D66FEE9}" dt="2023-10-08T15:24:23.130" v="2450" actId="21"/>
          <ac:spMkLst>
            <pc:docMk/>
            <pc:sldMk cId="3531290962" sldId="2147474208"/>
            <ac:spMk id="13" creationId="{950BBAE1-5BFA-0565-A6F5-765D1346D0F9}"/>
          </ac:spMkLst>
        </pc:spChg>
        <pc:spChg chg="add mod">
          <ac:chgData name="Alexander Zap" userId="a7da462d-dcce-4fac-877b-2514b43c9eed" providerId="ADAL" clId="{DCC2DD3A-99B9-4B98-997A-D3EC3D66FEE9}" dt="2023-10-08T15:24:34.371" v="2452"/>
          <ac:spMkLst>
            <pc:docMk/>
            <pc:sldMk cId="3531290962" sldId="2147474208"/>
            <ac:spMk id="14" creationId="{E0E8EF4F-066B-186C-F568-52CAABD2A67B}"/>
          </ac:spMkLst>
        </pc:spChg>
        <pc:picChg chg="add del mod">
          <ac:chgData name="Alexander Zap" userId="a7da462d-dcce-4fac-877b-2514b43c9eed" providerId="ADAL" clId="{DCC2DD3A-99B9-4B98-997A-D3EC3D66FEE9}" dt="2023-10-08T15:23:24.791" v="2417" actId="21"/>
          <ac:picMkLst>
            <pc:docMk/>
            <pc:sldMk cId="3531290962" sldId="2147474208"/>
            <ac:picMk id="5" creationId="{9D8DDE3F-6D35-01DE-2215-10FD841D97BF}"/>
          </ac:picMkLst>
        </pc:picChg>
        <pc:picChg chg="add del mod">
          <ac:chgData name="Alexander Zap" userId="a7da462d-dcce-4fac-877b-2514b43c9eed" providerId="ADAL" clId="{DCC2DD3A-99B9-4B98-997A-D3EC3D66FEE9}" dt="2023-10-08T15:24:02.962" v="2429"/>
          <ac:picMkLst>
            <pc:docMk/>
            <pc:sldMk cId="3531290962" sldId="2147474208"/>
            <ac:picMk id="6" creationId="{4EC82D9B-7B30-AF57-F8E2-CE590DF0EAC3}"/>
          </ac:picMkLst>
        </pc:picChg>
        <pc:picChg chg="add del">
          <ac:chgData name="Alexander Zap" userId="a7da462d-dcce-4fac-877b-2514b43c9eed" providerId="ADAL" clId="{DCC2DD3A-99B9-4B98-997A-D3EC3D66FEE9}" dt="2023-10-08T15:24:20.021" v="2447" actId="22"/>
          <ac:picMkLst>
            <pc:docMk/>
            <pc:sldMk cId="3531290962" sldId="2147474208"/>
            <ac:picMk id="11" creationId="{C6CE7D2F-DFA2-D949-BE9E-7717DC892D8E}"/>
          </ac:picMkLst>
        </pc:picChg>
      </pc:sldChg>
      <pc:sldChg chg="add del setBg">
        <pc:chgData name="Alexander Zap" userId="a7da462d-dcce-4fac-877b-2514b43c9eed" providerId="ADAL" clId="{DCC2DD3A-99B9-4B98-997A-D3EC3D66FEE9}" dt="2023-10-08T11:13:05.890" v="1776"/>
        <pc:sldMkLst>
          <pc:docMk/>
          <pc:sldMk cId="618925760" sldId="2147474209"/>
        </pc:sldMkLst>
      </pc:sldChg>
      <pc:sldChg chg="add del">
        <pc:chgData name="Alexander Zap" userId="a7da462d-dcce-4fac-877b-2514b43c9eed" providerId="ADAL" clId="{DCC2DD3A-99B9-4B98-997A-D3EC3D66FEE9}" dt="2023-10-08T09:35:31.426" v="1766" actId="2696"/>
        <pc:sldMkLst>
          <pc:docMk/>
          <pc:sldMk cId="1763359994" sldId="2147474209"/>
        </pc:sldMkLst>
      </pc:sldChg>
      <pc:sldChg chg="addSp delSp modSp add mod">
        <pc:chgData name="Alexander Zap" userId="a7da462d-dcce-4fac-877b-2514b43c9eed" providerId="ADAL" clId="{DCC2DD3A-99B9-4B98-997A-D3EC3D66FEE9}" dt="2023-10-08T15:21:16.624" v="2385" actId="1076"/>
        <pc:sldMkLst>
          <pc:docMk/>
          <pc:sldMk cId="3497305580" sldId="2147474209"/>
        </pc:sldMkLst>
        <pc:spChg chg="mod">
          <ac:chgData name="Alexander Zap" userId="a7da462d-dcce-4fac-877b-2514b43c9eed" providerId="ADAL" clId="{DCC2DD3A-99B9-4B98-997A-D3EC3D66FEE9}" dt="2023-10-08T11:21:44.390" v="2012" actId="20577"/>
          <ac:spMkLst>
            <pc:docMk/>
            <pc:sldMk cId="3497305580" sldId="2147474209"/>
            <ac:spMk id="8" creationId="{9249DB86-D936-41B8-1F1B-EBD0DBC7D906}"/>
          </ac:spMkLst>
        </pc:spChg>
        <pc:spChg chg="add mod">
          <ac:chgData name="Alexander Zap" userId="a7da462d-dcce-4fac-877b-2514b43c9eed" providerId="ADAL" clId="{DCC2DD3A-99B9-4B98-997A-D3EC3D66FEE9}" dt="2023-10-08T15:21:16.624" v="2385" actId="1076"/>
          <ac:spMkLst>
            <pc:docMk/>
            <pc:sldMk cId="3497305580" sldId="2147474209"/>
            <ac:spMk id="9" creationId="{1B002BB8-D66E-60C4-7F6F-61C3B8CFBD79}"/>
          </ac:spMkLst>
        </pc:spChg>
        <pc:picChg chg="del">
          <ac:chgData name="Alexander Zap" userId="a7da462d-dcce-4fac-877b-2514b43c9eed" providerId="ADAL" clId="{DCC2DD3A-99B9-4B98-997A-D3EC3D66FEE9}" dt="2023-10-08T11:13:09.813" v="1778" actId="21"/>
          <ac:picMkLst>
            <pc:docMk/>
            <pc:sldMk cId="3497305580" sldId="2147474209"/>
            <ac:picMk id="3" creationId="{7E648A22-B9ED-94A7-D6C1-EDF6B28D1C7A}"/>
          </ac:picMkLst>
        </pc:picChg>
        <pc:picChg chg="add mod">
          <ac:chgData name="Alexander Zap" userId="a7da462d-dcce-4fac-877b-2514b43c9eed" providerId="ADAL" clId="{DCC2DD3A-99B9-4B98-997A-D3EC3D66FEE9}" dt="2023-10-08T11:30:19.836" v="2086" actId="14100"/>
          <ac:picMkLst>
            <pc:docMk/>
            <pc:sldMk cId="3497305580" sldId="2147474209"/>
            <ac:picMk id="5" creationId="{CA0D8474-9628-055D-343B-231A51DAF567}"/>
          </ac:picMkLst>
        </pc:picChg>
        <pc:picChg chg="add mod">
          <ac:chgData name="Alexander Zap" userId="a7da462d-dcce-4fac-877b-2514b43c9eed" providerId="ADAL" clId="{DCC2DD3A-99B9-4B98-997A-D3EC3D66FEE9}" dt="2023-10-08T11:30:24.265" v="2088" actId="1076"/>
          <ac:picMkLst>
            <pc:docMk/>
            <pc:sldMk cId="3497305580" sldId="2147474209"/>
            <ac:picMk id="6" creationId="{6E53A17D-3EFF-185C-1215-17ABE0F98006}"/>
          </ac:picMkLst>
        </pc:picChg>
        <pc:picChg chg="add mod">
          <ac:chgData name="Alexander Zap" userId="a7da462d-dcce-4fac-877b-2514b43c9eed" providerId="ADAL" clId="{DCC2DD3A-99B9-4B98-997A-D3EC3D66FEE9}" dt="2023-10-08T11:30:21.403" v="2087" actId="1076"/>
          <ac:picMkLst>
            <pc:docMk/>
            <pc:sldMk cId="3497305580" sldId="2147474209"/>
            <ac:picMk id="7" creationId="{5C54DB26-6ACF-91D8-B059-578CD0C4D641}"/>
          </ac:picMkLst>
        </pc:picChg>
      </pc:sldChg>
      <pc:sldChg chg="addSp delSp modSp add del mod">
        <pc:chgData name="Alexander Zap" userId="a7da462d-dcce-4fac-877b-2514b43c9eed" providerId="ADAL" clId="{DCC2DD3A-99B9-4B98-997A-D3EC3D66FEE9}" dt="2023-10-08T11:17:05.982" v="1941" actId="2696"/>
        <pc:sldMkLst>
          <pc:docMk/>
          <pc:sldMk cId="403830916" sldId="2147474210"/>
        </pc:sldMkLst>
        <pc:spChg chg="mod">
          <ac:chgData name="Alexander Zap" userId="a7da462d-dcce-4fac-877b-2514b43c9eed" providerId="ADAL" clId="{DCC2DD3A-99B9-4B98-997A-D3EC3D66FEE9}" dt="2023-10-08T11:16:51.847" v="1940" actId="1076"/>
          <ac:spMkLst>
            <pc:docMk/>
            <pc:sldMk cId="403830916" sldId="2147474210"/>
            <ac:spMk id="8" creationId="{9249DB86-D936-41B8-1F1B-EBD0DBC7D906}"/>
          </ac:spMkLst>
        </pc:spChg>
        <pc:picChg chg="add del mod">
          <ac:chgData name="Alexander Zap" userId="a7da462d-dcce-4fac-877b-2514b43c9eed" providerId="ADAL" clId="{DCC2DD3A-99B9-4B98-997A-D3EC3D66FEE9}" dt="2023-10-08T11:15:16.868" v="1931" actId="21"/>
          <ac:picMkLst>
            <pc:docMk/>
            <pc:sldMk cId="403830916" sldId="2147474210"/>
            <ac:picMk id="2" creationId="{646CC8D5-9EF8-249A-CF80-CC0077A35E5B}"/>
          </ac:picMkLst>
        </pc:picChg>
        <pc:picChg chg="del">
          <ac:chgData name="Alexander Zap" userId="a7da462d-dcce-4fac-877b-2514b43c9eed" providerId="ADAL" clId="{DCC2DD3A-99B9-4B98-997A-D3EC3D66FEE9}" dt="2023-10-08T11:15:14.264" v="1929" actId="21"/>
          <ac:picMkLst>
            <pc:docMk/>
            <pc:sldMk cId="403830916" sldId="2147474210"/>
            <ac:picMk id="5" creationId="{CA0D8474-9628-055D-343B-231A51DAF567}"/>
          </ac:picMkLst>
        </pc:picChg>
        <pc:picChg chg="add mod">
          <ac:chgData name="Alexander Zap" userId="a7da462d-dcce-4fac-877b-2514b43c9eed" providerId="ADAL" clId="{DCC2DD3A-99B9-4B98-997A-D3EC3D66FEE9}" dt="2023-10-08T11:15:26.790" v="1935" actId="1076"/>
          <ac:picMkLst>
            <pc:docMk/>
            <pc:sldMk cId="403830916" sldId="2147474210"/>
            <ac:picMk id="6" creationId="{2901D4D6-A31A-D2EA-3034-CAD119CABE59}"/>
          </ac:picMkLst>
        </pc:picChg>
        <pc:picChg chg="add mod">
          <ac:chgData name="Alexander Zap" userId="a7da462d-dcce-4fac-877b-2514b43c9eed" providerId="ADAL" clId="{DCC2DD3A-99B9-4B98-997A-D3EC3D66FEE9}" dt="2023-10-08T11:15:35.029" v="1938" actId="1076"/>
          <ac:picMkLst>
            <pc:docMk/>
            <pc:sldMk cId="403830916" sldId="2147474210"/>
            <ac:picMk id="9" creationId="{84BE6E35-6333-AF43-F21B-4A46B9A88BFE}"/>
          </ac:picMkLst>
        </pc:picChg>
      </pc:sldChg>
      <pc:sldChg chg="add del setBg">
        <pc:chgData name="Alexander Zap" userId="a7da462d-dcce-4fac-877b-2514b43c9eed" providerId="ADAL" clId="{DCC2DD3A-99B9-4B98-997A-D3EC3D66FEE9}" dt="2023-10-08T11:18:47.876" v="1943"/>
        <pc:sldMkLst>
          <pc:docMk/>
          <pc:sldMk cId="3246734950" sldId="2147474210"/>
        </pc:sldMkLst>
      </pc:sldChg>
      <pc:sldChg chg="addSp delSp modSp add mod">
        <pc:chgData name="Alexander Zap" userId="a7da462d-dcce-4fac-877b-2514b43c9eed" providerId="ADAL" clId="{DCC2DD3A-99B9-4B98-997A-D3EC3D66FEE9}" dt="2023-10-08T15:28:22.396" v="2500"/>
        <pc:sldMkLst>
          <pc:docMk/>
          <pc:sldMk cId="3920667103" sldId="2147474210"/>
        </pc:sldMkLst>
        <pc:spChg chg="add del mod">
          <ac:chgData name="Alexander Zap" userId="a7da462d-dcce-4fac-877b-2514b43c9eed" providerId="ADAL" clId="{DCC2DD3A-99B9-4B98-997A-D3EC3D66FEE9}" dt="2023-10-08T11:19:35.926" v="1956"/>
          <ac:spMkLst>
            <pc:docMk/>
            <pc:sldMk cId="3920667103" sldId="2147474210"/>
            <ac:spMk id="6" creationId="{638664A4-F312-FF99-43CD-C6AECA70C800}"/>
          </ac:spMkLst>
        </pc:spChg>
        <pc:spChg chg="add del mod">
          <ac:chgData name="Alexander Zap" userId="a7da462d-dcce-4fac-877b-2514b43c9eed" providerId="ADAL" clId="{DCC2DD3A-99B9-4B98-997A-D3EC3D66FEE9}" dt="2023-10-08T11:19:43.531" v="1960" actId="21"/>
          <ac:spMkLst>
            <pc:docMk/>
            <pc:sldMk cId="3920667103" sldId="2147474210"/>
            <ac:spMk id="7" creationId="{CD4521EE-F42F-EC72-077F-10E0C0E2E215}"/>
          </ac:spMkLst>
        </pc:spChg>
        <pc:spChg chg="add mod">
          <ac:chgData name="Alexander Zap" userId="a7da462d-dcce-4fac-877b-2514b43c9eed" providerId="ADAL" clId="{DCC2DD3A-99B9-4B98-997A-D3EC3D66FEE9}" dt="2023-10-08T11:20:29.283" v="1989" actId="1076"/>
          <ac:spMkLst>
            <pc:docMk/>
            <pc:sldMk cId="3920667103" sldId="2147474210"/>
            <ac:spMk id="9" creationId="{ABBC9B73-73D1-6A1F-C5AA-29EC312C8319}"/>
          </ac:spMkLst>
        </pc:spChg>
        <pc:spChg chg="add del">
          <ac:chgData name="Alexander Zap" userId="a7da462d-dcce-4fac-877b-2514b43c9eed" providerId="ADAL" clId="{DCC2DD3A-99B9-4B98-997A-D3EC3D66FEE9}" dt="2023-10-08T15:27:41.345" v="2494" actId="22"/>
          <ac:spMkLst>
            <pc:docMk/>
            <pc:sldMk cId="3920667103" sldId="2147474210"/>
            <ac:spMk id="11" creationId="{16F4E9E7-CFC4-4CA6-C3BE-85E365013D1F}"/>
          </ac:spMkLst>
        </pc:spChg>
        <pc:spChg chg="add del">
          <ac:chgData name="Alexander Zap" userId="a7da462d-dcce-4fac-877b-2514b43c9eed" providerId="ADAL" clId="{DCC2DD3A-99B9-4B98-997A-D3EC3D66FEE9}" dt="2023-10-08T15:27:42.586" v="2496" actId="22"/>
          <ac:spMkLst>
            <pc:docMk/>
            <pc:sldMk cId="3920667103" sldId="2147474210"/>
            <ac:spMk id="13" creationId="{134FB21D-A8D0-C9D8-BAFC-888F0331733B}"/>
          </ac:spMkLst>
        </pc:spChg>
        <pc:spChg chg="add mod">
          <ac:chgData name="Alexander Zap" userId="a7da462d-dcce-4fac-877b-2514b43c9eed" providerId="ADAL" clId="{DCC2DD3A-99B9-4B98-997A-D3EC3D66FEE9}" dt="2023-10-08T15:27:53.359" v="2497"/>
          <ac:spMkLst>
            <pc:docMk/>
            <pc:sldMk cId="3920667103" sldId="2147474210"/>
            <ac:spMk id="14" creationId="{2846F52E-1B25-BE6B-A445-1CF087DDD1AB}"/>
          </ac:spMkLst>
        </pc:spChg>
        <pc:spChg chg="add mod">
          <ac:chgData name="Alexander Zap" userId="a7da462d-dcce-4fac-877b-2514b43c9eed" providerId="ADAL" clId="{DCC2DD3A-99B9-4B98-997A-D3EC3D66FEE9}" dt="2023-10-08T15:28:22.396" v="2500"/>
          <ac:spMkLst>
            <pc:docMk/>
            <pc:sldMk cId="3920667103" sldId="2147474210"/>
            <ac:spMk id="15" creationId="{1196F1BB-7DBC-9B70-C0B6-2A4A606C35D4}"/>
          </ac:spMkLst>
        </pc:spChg>
        <pc:picChg chg="add del mod">
          <ac:chgData name="Alexander Zap" userId="a7da462d-dcce-4fac-877b-2514b43c9eed" providerId="ADAL" clId="{DCC2DD3A-99B9-4B98-997A-D3EC3D66FEE9}" dt="2023-10-08T11:20:33.173" v="1991" actId="14100"/>
          <ac:picMkLst>
            <pc:docMk/>
            <pc:sldMk cId="3920667103" sldId="2147474210"/>
            <ac:picMk id="3" creationId="{7E648A22-B9ED-94A7-D6C1-EDF6B28D1C7A}"/>
          </ac:picMkLst>
        </pc:picChg>
        <pc:picChg chg="add mod">
          <ac:chgData name="Alexander Zap" userId="a7da462d-dcce-4fac-877b-2514b43c9eed" providerId="ADAL" clId="{DCC2DD3A-99B9-4B98-997A-D3EC3D66FEE9}" dt="2023-10-08T11:20:19.790" v="1985" actId="1076"/>
          <ac:picMkLst>
            <pc:docMk/>
            <pc:sldMk cId="3920667103" sldId="2147474210"/>
            <ac:picMk id="5" creationId="{5586264B-25AE-4A8E-C64A-E0CC2E269061}"/>
          </ac:picMkLst>
        </pc:picChg>
      </pc:sldChg>
      <pc:sldChg chg="add del setBg">
        <pc:chgData name="Alexander Zap" userId="a7da462d-dcce-4fac-877b-2514b43c9eed" providerId="ADAL" clId="{DCC2DD3A-99B9-4B98-997A-D3EC3D66FEE9}" dt="2023-10-08T11:21:26.016" v="1993"/>
        <pc:sldMkLst>
          <pc:docMk/>
          <pc:sldMk cId="960989143" sldId="2147474211"/>
        </pc:sldMkLst>
      </pc:sldChg>
      <pc:sldChg chg="addSp delSp modSp add del mod">
        <pc:chgData name="Alexander Zap" userId="a7da462d-dcce-4fac-877b-2514b43c9eed" providerId="ADAL" clId="{DCC2DD3A-99B9-4B98-997A-D3EC3D66FEE9}" dt="2023-10-08T11:30:39.862" v="2089" actId="2696"/>
        <pc:sldMkLst>
          <pc:docMk/>
          <pc:sldMk cId="2053748162" sldId="2147474211"/>
        </pc:sldMkLst>
        <pc:spChg chg="mod">
          <ac:chgData name="Alexander Zap" userId="a7da462d-dcce-4fac-877b-2514b43c9eed" providerId="ADAL" clId="{DCC2DD3A-99B9-4B98-997A-D3EC3D66FEE9}" dt="2023-10-08T11:21:33.800" v="2004" actId="20577"/>
          <ac:spMkLst>
            <pc:docMk/>
            <pc:sldMk cId="2053748162" sldId="2147474211"/>
            <ac:spMk id="8" creationId="{9249DB86-D936-41B8-1F1B-EBD0DBC7D906}"/>
          </ac:spMkLst>
        </pc:spChg>
        <pc:picChg chg="add mod">
          <ac:chgData name="Alexander Zap" userId="a7da462d-dcce-4fac-877b-2514b43c9eed" providerId="ADAL" clId="{DCC2DD3A-99B9-4B98-997A-D3EC3D66FEE9}" dt="2023-10-08T11:22:33.249" v="2017" actId="14100"/>
          <ac:picMkLst>
            <pc:docMk/>
            <pc:sldMk cId="2053748162" sldId="2147474211"/>
            <ac:picMk id="3" creationId="{CC297027-DD7F-1C1D-8BD5-6E4E519C77C1}"/>
          </ac:picMkLst>
        </pc:picChg>
        <pc:picChg chg="del">
          <ac:chgData name="Alexander Zap" userId="a7da462d-dcce-4fac-877b-2514b43c9eed" providerId="ADAL" clId="{DCC2DD3A-99B9-4B98-997A-D3EC3D66FEE9}" dt="2023-10-08T11:22:16.296" v="2013" actId="21"/>
          <ac:picMkLst>
            <pc:docMk/>
            <pc:sldMk cId="2053748162" sldId="2147474211"/>
            <ac:picMk id="5" creationId="{CA0D8474-9628-055D-343B-231A51DAF567}"/>
          </ac:picMkLst>
        </pc:picChg>
      </pc:sldChg>
      <pc:sldChg chg="addSp delSp modSp add mod">
        <pc:chgData name="Alexander Zap" userId="a7da462d-dcce-4fac-877b-2514b43c9eed" providerId="ADAL" clId="{DCC2DD3A-99B9-4B98-997A-D3EC3D66FEE9}" dt="2023-10-08T15:32:09.181" v="2535" actId="20577"/>
        <pc:sldMkLst>
          <pc:docMk/>
          <pc:sldMk cId="1129201901" sldId="2147474212"/>
        </pc:sldMkLst>
        <pc:spChg chg="add del">
          <ac:chgData name="Alexander Zap" userId="a7da462d-dcce-4fac-877b-2514b43c9eed" providerId="ADAL" clId="{DCC2DD3A-99B9-4B98-997A-D3EC3D66FEE9}" dt="2023-10-08T15:25:21.432" v="2456" actId="22"/>
          <ac:spMkLst>
            <pc:docMk/>
            <pc:sldMk cId="1129201901" sldId="2147474212"/>
            <ac:spMk id="5" creationId="{DDFE925F-3B9D-7159-61CA-6C51DF1EBB51}"/>
          </ac:spMkLst>
        </pc:spChg>
        <pc:spChg chg="add del">
          <ac:chgData name="Alexander Zap" userId="a7da462d-dcce-4fac-877b-2514b43c9eed" providerId="ADAL" clId="{DCC2DD3A-99B9-4B98-997A-D3EC3D66FEE9}" dt="2023-10-08T15:25:23.889" v="2458" actId="22"/>
          <ac:spMkLst>
            <pc:docMk/>
            <pc:sldMk cId="1129201901" sldId="2147474212"/>
            <ac:spMk id="7" creationId="{252D9B87-9087-3FC7-CEE7-BB7735530C39}"/>
          </ac:spMkLst>
        </pc:spChg>
        <pc:spChg chg="mod">
          <ac:chgData name="Alexander Zap" userId="a7da462d-dcce-4fac-877b-2514b43c9eed" providerId="ADAL" clId="{DCC2DD3A-99B9-4B98-997A-D3EC3D66FEE9}" dt="2023-10-08T15:32:09.181" v="2535" actId="20577"/>
          <ac:spMkLst>
            <pc:docMk/>
            <pc:sldMk cId="1129201901" sldId="2147474212"/>
            <ac:spMk id="8" creationId="{9249DB86-D936-41B8-1F1B-EBD0DBC7D906}"/>
          </ac:spMkLst>
        </pc:spChg>
        <pc:spChg chg="add mod">
          <ac:chgData name="Alexander Zap" userId="a7da462d-dcce-4fac-877b-2514b43c9eed" providerId="ADAL" clId="{DCC2DD3A-99B9-4B98-997A-D3EC3D66FEE9}" dt="2023-10-08T15:27:15.599" v="2492"/>
          <ac:spMkLst>
            <pc:docMk/>
            <pc:sldMk cId="1129201901" sldId="2147474212"/>
            <ac:spMk id="9" creationId="{7B2685CD-9D60-C5AD-E084-19834B5BC902}"/>
          </ac:spMkLst>
        </pc:spChg>
      </pc:sldChg>
      <pc:sldChg chg="addSp delSp modSp add mod">
        <pc:chgData name="Alexander Zap" userId="a7da462d-dcce-4fac-877b-2514b43c9eed" providerId="ADAL" clId="{DCC2DD3A-99B9-4B98-997A-D3EC3D66FEE9}" dt="2023-10-08T15:25:43.157" v="2462"/>
        <pc:sldMkLst>
          <pc:docMk/>
          <pc:sldMk cId="2533146509" sldId="2147474213"/>
        </pc:sldMkLst>
        <pc:spChg chg="mod">
          <ac:chgData name="Alexander Zap" userId="a7da462d-dcce-4fac-877b-2514b43c9eed" providerId="ADAL" clId="{DCC2DD3A-99B9-4B98-997A-D3EC3D66FEE9}" dt="2023-10-08T11:40:04.825" v="2246" actId="20577"/>
          <ac:spMkLst>
            <pc:docMk/>
            <pc:sldMk cId="2533146509" sldId="2147474213"/>
            <ac:spMk id="8" creationId="{9249DB86-D936-41B8-1F1B-EBD0DBC7D906}"/>
          </ac:spMkLst>
        </pc:spChg>
        <pc:spChg chg="add mod">
          <ac:chgData name="Alexander Zap" userId="a7da462d-dcce-4fac-877b-2514b43c9eed" providerId="ADAL" clId="{DCC2DD3A-99B9-4B98-997A-D3EC3D66FEE9}" dt="2023-10-08T15:25:43.157" v="2462"/>
          <ac:spMkLst>
            <pc:docMk/>
            <pc:sldMk cId="2533146509" sldId="2147474213"/>
            <ac:spMk id="12" creationId="{BAB87F20-DF82-0E32-0B73-09285CECC5EE}"/>
          </ac:spMkLst>
        </pc:spChg>
        <pc:picChg chg="add del mod">
          <ac:chgData name="Alexander Zap" userId="a7da462d-dcce-4fac-877b-2514b43c9eed" providerId="ADAL" clId="{DCC2DD3A-99B9-4B98-997A-D3EC3D66FEE9}" dt="2023-10-08T11:22:45.730" v="2022"/>
          <ac:picMkLst>
            <pc:docMk/>
            <pc:sldMk cId="2533146509" sldId="2147474213"/>
            <ac:picMk id="2" creationId="{2A8ADFD9-42D5-2688-8282-245994AE887E}"/>
          </ac:picMkLst>
        </pc:picChg>
        <pc:picChg chg="del">
          <ac:chgData name="Alexander Zap" userId="a7da462d-dcce-4fac-877b-2514b43c9eed" providerId="ADAL" clId="{DCC2DD3A-99B9-4B98-997A-D3EC3D66FEE9}" dt="2023-10-08T11:22:44.616" v="2020" actId="21"/>
          <ac:picMkLst>
            <pc:docMk/>
            <pc:sldMk cId="2533146509" sldId="2147474213"/>
            <ac:picMk id="3" creationId="{CC297027-DD7F-1C1D-8BD5-6E4E519C77C1}"/>
          </ac:picMkLst>
        </pc:picChg>
        <pc:picChg chg="add del mod">
          <ac:chgData name="Alexander Zap" userId="a7da462d-dcce-4fac-877b-2514b43c9eed" providerId="ADAL" clId="{DCC2DD3A-99B9-4B98-997A-D3EC3D66FEE9}" dt="2023-10-08T11:32:38.511" v="2106" actId="21"/>
          <ac:picMkLst>
            <pc:docMk/>
            <pc:sldMk cId="2533146509" sldId="2147474213"/>
            <ac:picMk id="6" creationId="{E6BC20BF-0186-8243-96A9-4E542924ECB4}"/>
          </ac:picMkLst>
        </pc:picChg>
        <pc:picChg chg="add del mod">
          <ac:chgData name="Alexander Zap" userId="a7da462d-dcce-4fac-877b-2514b43c9eed" providerId="ADAL" clId="{DCC2DD3A-99B9-4B98-997A-D3EC3D66FEE9}" dt="2023-10-08T11:33:41.073" v="2117" actId="21"/>
          <ac:picMkLst>
            <pc:docMk/>
            <pc:sldMk cId="2533146509" sldId="2147474213"/>
            <ac:picMk id="9" creationId="{C0F2F79C-1CC9-96C9-B395-C99DA9042E6F}"/>
          </ac:picMkLst>
        </pc:picChg>
        <pc:picChg chg="add mod">
          <ac:chgData name="Alexander Zap" userId="a7da462d-dcce-4fac-877b-2514b43c9eed" providerId="ADAL" clId="{DCC2DD3A-99B9-4B98-997A-D3EC3D66FEE9}" dt="2023-10-08T11:33:50.312" v="2121" actId="14100"/>
          <ac:picMkLst>
            <pc:docMk/>
            <pc:sldMk cId="2533146509" sldId="2147474213"/>
            <ac:picMk id="11" creationId="{1FFFF28D-DFD3-1AD7-7814-EEE4A43B7D37}"/>
          </ac:picMkLst>
        </pc:picChg>
      </pc:sldChg>
      <pc:sldChg chg="addSp delSp modSp add mod">
        <pc:chgData name="Alexander Zap" userId="a7da462d-dcce-4fac-877b-2514b43c9eed" providerId="ADAL" clId="{DCC2DD3A-99B9-4B98-997A-D3EC3D66FEE9}" dt="2023-10-08T15:25:51.289" v="2464"/>
        <pc:sldMkLst>
          <pc:docMk/>
          <pc:sldMk cId="1183938783" sldId="2147474214"/>
        </pc:sldMkLst>
        <pc:spChg chg="add mod">
          <ac:chgData name="Alexander Zap" userId="a7da462d-dcce-4fac-877b-2514b43c9eed" providerId="ADAL" clId="{DCC2DD3A-99B9-4B98-997A-D3EC3D66FEE9}" dt="2023-10-08T15:25:51.289" v="2464"/>
          <ac:spMkLst>
            <pc:docMk/>
            <pc:sldMk cId="1183938783" sldId="2147474214"/>
            <ac:spMk id="5" creationId="{CECF89E1-3694-C174-6E1B-507BC5D64EA7}"/>
          </ac:spMkLst>
        </pc:spChg>
        <pc:spChg chg="mod">
          <ac:chgData name="Alexander Zap" userId="a7da462d-dcce-4fac-877b-2514b43c9eed" providerId="ADAL" clId="{DCC2DD3A-99B9-4B98-997A-D3EC3D66FEE9}" dt="2023-10-08T11:39:58.794" v="2238" actId="20577"/>
          <ac:spMkLst>
            <pc:docMk/>
            <pc:sldMk cId="1183938783" sldId="2147474214"/>
            <ac:spMk id="8" creationId="{9249DB86-D936-41B8-1F1B-EBD0DBC7D906}"/>
          </ac:spMkLst>
        </pc:spChg>
        <pc:picChg chg="add mod">
          <ac:chgData name="Alexander Zap" userId="a7da462d-dcce-4fac-877b-2514b43c9eed" providerId="ADAL" clId="{DCC2DD3A-99B9-4B98-997A-D3EC3D66FEE9}" dt="2023-10-08T11:33:13.855" v="2116" actId="207"/>
          <ac:picMkLst>
            <pc:docMk/>
            <pc:sldMk cId="1183938783" sldId="2147474214"/>
            <ac:picMk id="3" creationId="{A57A8AF5-6E46-3736-64EC-23790C95E9BA}"/>
          </ac:picMkLst>
        </pc:picChg>
        <pc:picChg chg="del">
          <ac:chgData name="Alexander Zap" userId="a7da462d-dcce-4fac-877b-2514b43c9eed" providerId="ADAL" clId="{DCC2DD3A-99B9-4B98-997A-D3EC3D66FEE9}" dt="2023-10-08T11:23:17.417" v="2026" actId="21"/>
          <ac:picMkLst>
            <pc:docMk/>
            <pc:sldMk cId="1183938783" sldId="2147474214"/>
            <ac:picMk id="6" creationId="{E6BC20BF-0186-8243-96A9-4E542924ECB4}"/>
          </ac:picMkLst>
        </pc:picChg>
      </pc:sldChg>
      <pc:sldChg chg="addSp delSp modSp add mod">
        <pc:chgData name="Alexander Zap" userId="a7da462d-dcce-4fac-877b-2514b43c9eed" providerId="ADAL" clId="{DCC2DD3A-99B9-4B98-997A-D3EC3D66FEE9}" dt="2023-10-08T15:28:48.936" v="2501"/>
        <pc:sldMkLst>
          <pc:docMk/>
          <pc:sldMk cId="806247230" sldId="2147474215"/>
        </pc:sldMkLst>
        <pc:spChg chg="mod">
          <ac:chgData name="Alexander Zap" userId="a7da462d-dcce-4fac-877b-2514b43c9eed" providerId="ADAL" clId="{DCC2DD3A-99B9-4B98-997A-D3EC3D66FEE9}" dt="2023-10-08T11:38:51.357" v="2212" actId="20577"/>
          <ac:spMkLst>
            <pc:docMk/>
            <pc:sldMk cId="806247230" sldId="2147474215"/>
            <ac:spMk id="8" creationId="{9249DB86-D936-41B8-1F1B-EBD0DBC7D906}"/>
          </ac:spMkLst>
        </pc:spChg>
        <pc:spChg chg="add mod">
          <ac:chgData name="Alexander Zap" userId="a7da462d-dcce-4fac-877b-2514b43c9eed" providerId="ADAL" clId="{DCC2DD3A-99B9-4B98-997A-D3EC3D66FEE9}" dt="2023-10-08T15:25:52.324" v="2465"/>
          <ac:spMkLst>
            <pc:docMk/>
            <pc:sldMk cId="806247230" sldId="2147474215"/>
            <ac:spMk id="9" creationId="{B3A520D2-AA5C-C7D3-87AE-37404FA25587}"/>
          </ac:spMkLst>
        </pc:spChg>
        <pc:spChg chg="add mod">
          <ac:chgData name="Alexander Zap" userId="a7da462d-dcce-4fac-877b-2514b43c9eed" providerId="ADAL" clId="{DCC2DD3A-99B9-4B98-997A-D3EC3D66FEE9}" dt="2023-10-08T15:28:48.936" v="2501"/>
          <ac:spMkLst>
            <pc:docMk/>
            <pc:sldMk cId="806247230" sldId="2147474215"/>
            <ac:spMk id="10" creationId="{A1630ECB-DAF9-9D96-97A9-0B4860BAFF7F}"/>
          </ac:spMkLst>
        </pc:spChg>
        <pc:picChg chg="del">
          <ac:chgData name="Alexander Zap" userId="a7da462d-dcce-4fac-877b-2514b43c9eed" providerId="ADAL" clId="{DCC2DD3A-99B9-4B98-997A-D3EC3D66FEE9}" dt="2023-10-08T11:24:24.401" v="2036" actId="21"/>
          <ac:picMkLst>
            <pc:docMk/>
            <pc:sldMk cId="806247230" sldId="2147474215"/>
            <ac:picMk id="3" creationId="{A57A8AF5-6E46-3736-64EC-23790C95E9BA}"/>
          </ac:picMkLst>
        </pc:picChg>
        <pc:picChg chg="add del mod">
          <ac:chgData name="Alexander Zap" userId="a7da462d-dcce-4fac-877b-2514b43c9eed" providerId="ADAL" clId="{DCC2DD3A-99B9-4B98-997A-D3EC3D66FEE9}" dt="2023-10-08T11:34:34.832" v="2131" actId="21"/>
          <ac:picMkLst>
            <pc:docMk/>
            <pc:sldMk cId="806247230" sldId="2147474215"/>
            <ac:picMk id="5" creationId="{EC13A6F1-C22E-E2BA-C80B-954016A531C1}"/>
          </ac:picMkLst>
        </pc:picChg>
        <pc:picChg chg="add del mod">
          <ac:chgData name="Alexander Zap" userId="a7da462d-dcce-4fac-877b-2514b43c9eed" providerId="ADAL" clId="{DCC2DD3A-99B9-4B98-997A-D3EC3D66FEE9}" dt="2023-10-08T11:34:34.437" v="2130"/>
          <ac:picMkLst>
            <pc:docMk/>
            <pc:sldMk cId="806247230" sldId="2147474215"/>
            <ac:picMk id="7" creationId="{76154161-2764-1CFE-ABFE-D8B5E0A4F466}"/>
          </ac:picMkLst>
        </pc:picChg>
      </pc:sldChg>
      <pc:sldChg chg="add del setBg">
        <pc:chgData name="Alexander Zap" userId="a7da462d-dcce-4fac-877b-2514b43c9eed" providerId="ADAL" clId="{DCC2DD3A-99B9-4B98-997A-D3EC3D66FEE9}" dt="2023-10-08T11:24:18.299" v="2033"/>
        <pc:sldMkLst>
          <pc:docMk/>
          <pc:sldMk cId="2581068659" sldId="2147474215"/>
        </pc:sldMkLst>
      </pc:sldChg>
      <pc:sldChg chg="addSp delSp modSp add mod">
        <pc:chgData name="Alexander Zap" userId="a7da462d-dcce-4fac-877b-2514b43c9eed" providerId="ADAL" clId="{DCC2DD3A-99B9-4B98-997A-D3EC3D66FEE9}" dt="2023-10-08T15:28:51.089" v="2502"/>
        <pc:sldMkLst>
          <pc:docMk/>
          <pc:sldMk cId="2776780075" sldId="2147474216"/>
        </pc:sldMkLst>
        <pc:spChg chg="mod">
          <ac:chgData name="Alexander Zap" userId="a7da462d-dcce-4fac-877b-2514b43c9eed" providerId="ADAL" clId="{DCC2DD3A-99B9-4B98-997A-D3EC3D66FEE9}" dt="2023-10-08T11:39:00.292" v="2215" actId="20577"/>
          <ac:spMkLst>
            <pc:docMk/>
            <pc:sldMk cId="2776780075" sldId="2147474216"/>
            <ac:spMk id="8" creationId="{9249DB86-D936-41B8-1F1B-EBD0DBC7D906}"/>
          </ac:spMkLst>
        </pc:spChg>
        <pc:spChg chg="add mod">
          <ac:chgData name="Alexander Zap" userId="a7da462d-dcce-4fac-877b-2514b43c9eed" providerId="ADAL" clId="{DCC2DD3A-99B9-4B98-997A-D3EC3D66FEE9}" dt="2023-10-08T15:25:53.897" v="2466"/>
          <ac:spMkLst>
            <pc:docMk/>
            <pc:sldMk cId="2776780075" sldId="2147474216"/>
            <ac:spMk id="10" creationId="{5841E2E5-D2D4-E737-CB74-11C4D8421CCD}"/>
          </ac:spMkLst>
        </pc:spChg>
        <pc:spChg chg="add mod">
          <ac:chgData name="Alexander Zap" userId="a7da462d-dcce-4fac-877b-2514b43c9eed" providerId="ADAL" clId="{DCC2DD3A-99B9-4B98-997A-D3EC3D66FEE9}" dt="2023-10-08T15:28:51.089" v="2502"/>
          <ac:spMkLst>
            <pc:docMk/>
            <pc:sldMk cId="2776780075" sldId="2147474216"/>
            <ac:spMk id="11" creationId="{76C8D8F3-2EDD-2154-9BAB-0C10AC19D8B6}"/>
          </ac:spMkLst>
        </pc:spChg>
        <pc:picChg chg="del">
          <ac:chgData name="Alexander Zap" userId="a7da462d-dcce-4fac-877b-2514b43c9eed" providerId="ADAL" clId="{DCC2DD3A-99B9-4B98-997A-D3EC3D66FEE9}" dt="2023-10-08T11:24:25.677" v="2037" actId="21"/>
          <ac:picMkLst>
            <pc:docMk/>
            <pc:sldMk cId="2776780075" sldId="2147474216"/>
            <ac:picMk id="3" creationId="{A57A8AF5-6E46-3736-64EC-23790C95E9BA}"/>
          </ac:picMkLst>
        </pc:picChg>
        <pc:picChg chg="add mod modCrop">
          <ac:chgData name="Alexander Zap" userId="a7da462d-dcce-4fac-877b-2514b43c9eed" providerId="ADAL" clId="{DCC2DD3A-99B9-4B98-997A-D3EC3D66FEE9}" dt="2023-10-08T11:36:47.394" v="2162" actId="1076"/>
          <ac:picMkLst>
            <pc:docMk/>
            <pc:sldMk cId="2776780075" sldId="2147474216"/>
            <ac:picMk id="5" creationId="{8723E057-B3BD-5001-A6F5-78B3CB5C410B}"/>
          </ac:picMkLst>
        </pc:picChg>
        <pc:picChg chg="add mod">
          <ac:chgData name="Alexander Zap" userId="a7da462d-dcce-4fac-877b-2514b43c9eed" providerId="ADAL" clId="{DCC2DD3A-99B9-4B98-997A-D3EC3D66FEE9}" dt="2023-10-08T11:36:37.064" v="2161" actId="1076"/>
          <ac:picMkLst>
            <pc:docMk/>
            <pc:sldMk cId="2776780075" sldId="2147474216"/>
            <ac:picMk id="7" creationId="{9DBCCB0E-41E5-0E79-FA44-2AB257EF2CA6}"/>
          </ac:picMkLst>
        </pc:picChg>
        <pc:picChg chg="add mod modCrop">
          <ac:chgData name="Alexander Zap" userId="a7da462d-dcce-4fac-877b-2514b43c9eed" providerId="ADAL" clId="{DCC2DD3A-99B9-4B98-997A-D3EC3D66FEE9}" dt="2023-10-08T11:36:48.686" v="2163" actId="1076"/>
          <ac:picMkLst>
            <pc:docMk/>
            <pc:sldMk cId="2776780075" sldId="2147474216"/>
            <ac:picMk id="9" creationId="{558B5F7C-B4BD-0D72-20DB-2861E35A2019}"/>
          </ac:picMkLst>
        </pc:picChg>
      </pc:sldChg>
      <pc:sldChg chg="addSp delSp modSp add mod">
        <pc:chgData name="Alexander Zap" userId="a7da462d-dcce-4fac-877b-2514b43c9eed" providerId="ADAL" clId="{DCC2DD3A-99B9-4B98-997A-D3EC3D66FEE9}" dt="2023-10-08T15:32:40.412" v="2536" actId="20577"/>
        <pc:sldMkLst>
          <pc:docMk/>
          <pc:sldMk cId="4261202554" sldId="2147474217"/>
        </pc:sldMkLst>
        <pc:spChg chg="add del">
          <ac:chgData name="Alexander Zap" userId="a7da462d-dcce-4fac-877b-2514b43c9eed" providerId="ADAL" clId="{DCC2DD3A-99B9-4B98-997A-D3EC3D66FEE9}" dt="2023-10-08T15:26:52.650" v="2484" actId="22"/>
          <ac:spMkLst>
            <pc:docMk/>
            <pc:sldMk cId="4261202554" sldId="2147474217"/>
            <ac:spMk id="7" creationId="{095C6FDB-A5FE-9430-9887-01DB8B8BB36F}"/>
          </ac:spMkLst>
        </pc:spChg>
        <pc:spChg chg="mod">
          <ac:chgData name="Alexander Zap" userId="a7da462d-dcce-4fac-877b-2514b43c9eed" providerId="ADAL" clId="{DCC2DD3A-99B9-4B98-997A-D3EC3D66FEE9}" dt="2023-10-08T15:32:40.412" v="2536" actId="20577"/>
          <ac:spMkLst>
            <pc:docMk/>
            <pc:sldMk cId="4261202554" sldId="2147474217"/>
            <ac:spMk id="8" creationId="{9249DB86-D936-41B8-1F1B-EBD0DBC7D906}"/>
          </ac:spMkLst>
        </pc:spChg>
        <pc:spChg chg="add del">
          <ac:chgData name="Alexander Zap" userId="a7da462d-dcce-4fac-877b-2514b43c9eed" providerId="ADAL" clId="{DCC2DD3A-99B9-4B98-997A-D3EC3D66FEE9}" dt="2023-10-08T15:26:56.101" v="2486" actId="22"/>
          <ac:spMkLst>
            <pc:docMk/>
            <pc:sldMk cId="4261202554" sldId="2147474217"/>
            <ac:spMk id="10" creationId="{C4D4EDE7-5009-8233-68F3-FAD904A075FA}"/>
          </ac:spMkLst>
        </pc:spChg>
        <pc:spChg chg="add del">
          <ac:chgData name="Alexander Zap" userId="a7da462d-dcce-4fac-877b-2514b43c9eed" providerId="ADAL" clId="{DCC2DD3A-99B9-4B98-997A-D3EC3D66FEE9}" dt="2023-10-08T15:27:01.059" v="2488" actId="22"/>
          <ac:spMkLst>
            <pc:docMk/>
            <pc:sldMk cId="4261202554" sldId="2147474217"/>
            <ac:spMk id="12" creationId="{960AEB71-12B1-6594-B316-D77DEF45D3AF}"/>
          </ac:spMkLst>
        </pc:spChg>
        <pc:spChg chg="add del">
          <ac:chgData name="Alexander Zap" userId="a7da462d-dcce-4fac-877b-2514b43c9eed" providerId="ADAL" clId="{DCC2DD3A-99B9-4B98-997A-D3EC3D66FEE9}" dt="2023-10-08T15:27:02.753" v="2490" actId="22"/>
          <ac:spMkLst>
            <pc:docMk/>
            <pc:sldMk cId="4261202554" sldId="2147474217"/>
            <ac:spMk id="14" creationId="{D50D9D8D-7924-A6A7-FE95-5B38BB001DBF}"/>
          </ac:spMkLst>
        </pc:spChg>
        <pc:spChg chg="add mod">
          <ac:chgData name="Alexander Zap" userId="a7da462d-dcce-4fac-877b-2514b43c9eed" providerId="ADAL" clId="{DCC2DD3A-99B9-4B98-997A-D3EC3D66FEE9}" dt="2023-10-08T15:27:06.110" v="2491"/>
          <ac:spMkLst>
            <pc:docMk/>
            <pc:sldMk cId="4261202554" sldId="2147474217"/>
            <ac:spMk id="15" creationId="{9B5E06DE-DEC9-F3FF-9F1A-2C3C8314D590}"/>
          </ac:spMkLst>
        </pc:spChg>
        <pc:spChg chg="add mod">
          <ac:chgData name="Alexander Zap" userId="a7da462d-dcce-4fac-877b-2514b43c9eed" providerId="ADAL" clId="{DCC2DD3A-99B9-4B98-997A-D3EC3D66FEE9}" dt="2023-10-08T15:28:52.952" v="2503"/>
          <ac:spMkLst>
            <pc:docMk/>
            <pc:sldMk cId="4261202554" sldId="2147474217"/>
            <ac:spMk id="16" creationId="{AF497151-4061-C706-6AAF-2E5C3FE71142}"/>
          </ac:spMkLst>
        </pc:spChg>
        <pc:picChg chg="add mod">
          <ac:chgData name="Alexander Zap" userId="a7da462d-dcce-4fac-877b-2514b43c9eed" providerId="ADAL" clId="{DCC2DD3A-99B9-4B98-997A-D3EC3D66FEE9}" dt="2023-10-08T11:37:10.590" v="2168" actId="14100"/>
          <ac:picMkLst>
            <pc:docMk/>
            <pc:sldMk cId="4261202554" sldId="2147474217"/>
            <ac:picMk id="3" creationId="{42785A23-5721-83C6-8A45-3BA919415BE8}"/>
          </ac:picMkLst>
        </pc:picChg>
        <pc:picChg chg="add mod modCrop">
          <ac:chgData name="Alexander Zap" userId="a7da462d-dcce-4fac-877b-2514b43c9eed" providerId="ADAL" clId="{DCC2DD3A-99B9-4B98-997A-D3EC3D66FEE9}" dt="2023-10-08T11:37:06.601" v="2167" actId="732"/>
          <ac:picMkLst>
            <pc:docMk/>
            <pc:sldMk cId="4261202554" sldId="2147474217"/>
            <ac:picMk id="5" creationId="{8240AA20-B5EA-0CEE-7AF3-26694D30D836}"/>
          </ac:picMkLst>
        </pc:picChg>
      </pc:sldChg>
      <pc:sldChg chg="addSp delSp modSp add mod">
        <pc:chgData name="Alexander Zap" userId="a7da462d-dcce-4fac-877b-2514b43c9eed" providerId="ADAL" clId="{DCC2DD3A-99B9-4B98-997A-D3EC3D66FEE9}" dt="2023-10-08T15:25:56.259" v="2467"/>
        <pc:sldMkLst>
          <pc:docMk/>
          <pc:sldMk cId="2533661010" sldId="2147474218"/>
        </pc:sldMkLst>
        <pc:spChg chg="add mod">
          <ac:chgData name="Alexander Zap" userId="a7da462d-dcce-4fac-877b-2514b43c9eed" providerId="ADAL" clId="{DCC2DD3A-99B9-4B98-997A-D3EC3D66FEE9}" dt="2023-10-08T15:25:56.259" v="2467"/>
          <ac:spMkLst>
            <pc:docMk/>
            <pc:sldMk cId="2533661010" sldId="2147474218"/>
            <ac:spMk id="7" creationId="{19292722-1DA9-2776-1414-9077684277FA}"/>
          </ac:spMkLst>
        </pc:spChg>
        <pc:spChg chg="mod">
          <ac:chgData name="Alexander Zap" userId="a7da462d-dcce-4fac-877b-2514b43c9eed" providerId="ADAL" clId="{DCC2DD3A-99B9-4B98-997A-D3EC3D66FEE9}" dt="2023-10-08T11:39:09.146" v="2220" actId="20577"/>
          <ac:spMkLst>
            <pc:docMk/>
            <pc:sldMk cId="2533661010" sldId="2147474218"/>
            <ac:spMk id="8" creationId="{9249DB86-D936-41B8-1F1B-EBD0DBC7D906}"/>
          </ac:spMkLst>
        </pc:spChg>
        <pc:picChg chg="add del mod">
          <ac:chgData name="Alexander Zap" userId="a7da462d-dcce-4fac-877b-2514b43c9eed" providerId="ADAL" clId="{DCC2DD3A-99B9-4B98-997A-D3EC3D66FEE9}" dt="2023-10-08T11:28:38.312" v="2069" actId="21"/>
          <ac:picMkLst>
            <pc:docMk/>
            <pc:sldMk cId="2533661010" sldId="2147474218"/>
            <ac:picMk id="3" creationId="{4B6765BC-C0BD-1D32-1988-BA81AFA62C49}"/>
          </ac:picMkLst>
        </pc:picChg>
        <pc:picChg chg="add mod">
          <ac:chgData name="Alexander Zap" userId="a7da462d-dcce-4fac-877b-2514b43c9eed" providerId="ADAL" clId="{DCC2DD3A-99B9-4B98-997A-D3EC3D66FEE9}" dt="2023-10-08T11:28:50.921" v="2073" actId="14100"/>
          <ac:picMkLst>
            <pc:docMk/>
            <pc:sldMk cId="2533661010" sldId="2147474218"/>
            <ac:picMk id="6" creationId="{59FC81A1-885E-C273-0DAE-0C4D19E89D7E}"/>
          </ac:picMkLst>
        </pc:picChg>
      </pc:sldChg>
      <pc:sldChg chg="addSp delSp modSp add mod ord">
        <pc:chgData name="Alexander Zap" userId="a7da462d-dcce-4fac-877b-2514b43c9eed" providerId="ADAL" clId="{DCC2DD3A-99B9-4B98-997A-D3EC3D66FEE9}" dt="2023-10-08T15:26:30.888" v="2482" actId="20577"/>
        <pc:sldMkLst>
          <pc:docMk/>
          <pc:sldMk cId="1511713715" sldId="2147474219"/>
        </pc:sldMkLst>
        <pc:spChg chg="add del mod">
          <ac:chgData name="Alexander Zap" userId="a7da462d-dcce-4fac-877b-2514b43c9eed" providerId="ADAL" clId="{DCC2DD3A-99B9-4B98-997A-D3EC3D66FEE9}" dt="2023-10-08T15:26:30.888" v="2482" actId="20577"/>
          <ac:spMkLst>
            <pc:docMk/>
            <pc:sldMk cId="1511713715" sldId="2147474219"/>
            <ac:spMk id="5" creationId="{C5BAC760-5D03-30B7-7977-21D6EFB10141}"/>
          </ac:spMkLst>
        </pc:spChg>
        <pc:picChg chg="add mod">
          <ac:chgData name="Alexander Zap" userId="a7da462d-dcce-4fac-877b-2514b43c9eed" providerId="ADAL" clId="{DCC2DD3A-99B9-4B98-997A-D3EC3D66FEE9}" dt="2023-10-08T11:31:44.492" v="2102" actId="14100"/>
          <ac:picMkLst>
            <pc:docMk/>
            <pc:sldMk cId="1511713715" sldId="2147474219"/>
            <ac:picMk id="3" creationId="{49597E7E-248B-1AF8-5A38-62155F8651C8}"/>
          </ac:picMkLst>
        </pc:picChg>
        <pc:picChg chg="del">
          <ac:chgData name="Alexander Zap" userId="a7da462d-dcce-4fac-877b-2514b43c9eed" providerId="ADAL" clId="{DCC2DD3A-99B9-4B98-997A-D3EC3D66FEE9}" dt="2023-10-08T11:31:36.584" v="2098" actId="21"/>
          <ac:picMkLst>
            <pc:docMk/>
            <pc:sldMk cId="1511713715" sldId="2147474219"/>
            <ac:picMk id="6" creationId="{59FC81A1-885E-C273-0DAE-0C4D19E89D7E}"/>
          </ac:picMkLst>
        </pc:picChg>
      </pc:sldChg>
      <pc:sldChg chg="add del setBg">
        <pc:chgData name="Alexander Zap" userId="a7da462d-dcce-4fac-877b-2514b43c9eed" providerId="ADAL" clId="{DCC2DD3A-99B9-4B98-997A-D3EC3D66FEE9}" dt="2023-10-08T11:32:35.350" v="2104"/>
        <pc:sldMkLst>
          <pc:docMk/>
          <pc:sldMk cId="1912798966" sldId="2147474220"/>
        </pc:sldMkLst>
      </pc:sldChg>
      <pc:sldChg chg="addSp modSp add mod">
        <pc:chgData name="Alexander Zap" userId="a7da462d-dcce-4fac-877b-2514b43c9eed" providerId="ADAL" clId="{DCC2DD3A-99B9-4B98-997A-D3EC3D66FEE9}" dt="2023-10-08T15:25:46.581" v="2463"/>
        <pc:sldMkLst>
          <pc:docMk/>
          <pc:sldMk cId="4022380852" sldId="2147474220"/>
        </pc:sldMkLst>
        <pc:spChg chg="add mod">
          <ac:chgData name="Alexander Zap" userId="a7da462d-dcce-4fac-877b-2514b43c9eed" providerId="ADAL" clId="{DCC2DD3A-99B9-4B98-997A-D3EC3D66FEE9}" dt="2023-10-08T15:25:46.581" v="2463"/>
          <ac:spMkLst>
            <pc:docMk/>
            <pc:sldMk cId="4022380852" sldId="2147474220"/>
            <ac:spMk id="2" creationId="{7D20B80B-DCB0-DB7F-4B85-4C164C3A4130}"/>
          </ac:spMkLst>
        </pc:spChg>
        <pc:spChg chg="mod">
          <ac:chgData name="Alexander Zap" userId="a7da462d-dcce-4fac-877b-2514b43c9eed" providerId="ADAL" clId="{DCC2DD3A-99B9-4B98-997A-D3EC3D66FEE9}" dt="2023-10-08T11:40:54.606" v="2293" actId="20577"/>
          <ac:spMkLst>
            <pc:docMk/>
            <pc:sldMk cId="4022380852" sldId="2147474220"/>
            <ac:spMk id="8" creationId="{9249DB86-D936-41B8-1F1B-EBD0DBC7D906}"/>
          </ac:spMkLst>
        </pc:spChg>
        <pc:picChg chg="mod">
          <ac:chgData name="Alexander Zap" userId="a7da462d-dcce-4fac-877b-2514b43c9eed" providerId="ADAL" clId="{DCC2DD3A-99B9-4B98-997A-D3EC3D66FEE9}" dt="2023-10-08T11:33:07.542" v="2114" actId="207"/>
          <ac:picMkLst>
            <pc:docMk/>
            <pc:sldMk cId="4022380852" sldId="2147474220"/>
            <ac:picMk id="6" creationId="{E6BC20BF-0186-8243-96A9-4E542924ECB4}"/>
          </ac:picMkLst>
        </pc:picChg>
      </pc:sldChg>
      <pc:sldChg chg="add del">
        <pc:chgData name="Alexander Zap" userId="a7da462d-dcce-4fac-877b-2514b43c9eed" providerId="ADAL" clId="{DCC2DD3A-99B9-4B98-997A-D3EC3D66FEE9}" dt="2023-10-08T11:42:01.081" v="2307" actId="2696"/>
        <pc:sldMkLst>
          <pc:docMk/>
          <pc:sldMk cId="836545190" sldId="2147474221"/>
        </pc:sldMkLst>
      </pc:sldChg>
      <pc:sldChg chg="addSp delSp modSp add del mod">
        <pc:chgData name="Alexander Zap" userId="a7da462d-dcce-4fac-877b-2514b43c9eed" providerId="ADAL" clId="{DCC2DD3A-99B9-4B98-997A-D3EC3D66FEE9}" dt="2023-10-08T11:36:56.138" v="2164" actId="2696"/>
        <pc:sldMkLst>
          <pc:docMk/>
          <pc:sldMk cId="2359794163" sldId="2147474221"/>
        </pc:sldMkLst>
        <pc:picChg chg="add del mod">
          <ac:chgData name="Alexander Zap" userId="a7da462d-dcce-4fac-877b-2514b43c9eed" providerId="ADAL" clId="{DCC2DD3A-99B9-4B98-997A-D3EC3D66FEE9}" dt="2023-10-08T11:35:51.356" v="2150" actId="21"/>
          <ac:picMkLst>
            <pc:docMk/>
            <pc:sldMk cId="2359794163" sldId="2147474221"/>
            <ac:picMk id="3" creationId="{2A8E3529-CFAA-2DB4-F322-CDBE478CA95D}"/>
          </ac:picMkLst>
        </pc:picChg>
        <pc:picChg chg="del">
          <ac:chgData name="Alexander Zap" userId="a7da462d-dcce-4fac-877b-2514b43c9eed" providerId="ADAL" clId="{DCC2DD3A-99B9-4B98-997A-D3EC3D66FEE9}" dt="2023-10-08T11:34:43.958" v="2133" actId="21"/>
          <ac:picMkLst>
            <pc:docMk/>
            <pc:sldMk cId="2359794163" sldId="2147474221"/>
            <ac:picMk id="5" creationId="{8723E057-B3BD-5001-A6F5-78B3CB5C410B}"/>
          </ac:picMkLst>
        </pc:picChg>
        <pc:picChg chg="del">
          <ac:chgData name="Alexander Zap" userId="a7da462d-dcce-4fac-877b-2514b43c9eed" providerId="ADAL" clId="{DCC2DD3A-99B9-4B98-997A-D3EC3D66FEE9}" dt="2023-10-08T11:34:44.588" v="2134" actId="21"/>
          <ac:picMkLst>
            <pc:docMk/>
            <pc:sldMk cId="2359794163" sldId="2147474221"/>
            <ac:picMk id="7" creationId="{9DBCCB0E-41E5-0E79-FA44-2AB257EF2CA6}"/>
          </ac:picMkLst>
        </pc:picChg>
      </pc:sldChg>
      <pc:sldChg chg="addSp delSp modSp add mod">
        <pc:chgData name="Alexander Zap" userId="a7da462d-dcce-4fac-877b-2514b43c9eed" providerId="ADAL" clId="{DCC2DD3A-99B9-4B98-997A-D3EC3D66FEE9}" dt="2023-10-08T15:25:57.875" v="2468"/>
        <pc:sldMkLst>
          <pc:docMk/>
          <pc:sldMk cId="639341417" sldId="2147474222"/>
        </pc:sldMkLst>
        <pc:spChg chg="add mod">
          <ac:chgData name="Alexander Zap" userId="a7da462d-dcce-4fac-877b-2514b43c9eed" providerId="ADAL" clId="{DCC2DD3A-99B9-4B98-997A-D3EC3D66FEE9}" dt="2023-10-08T15:25:57.875" v="2468"/>
          <ac:spMkLst>
            <pc:docMk/>
            <pc:sldMk cId="639341417" sldId="2147474222"/>
            <ac:spMk id="5" creationId="{F6E8A6F2-DCD8-669A-C921-82526ED2C78C}"/>
          </ac:spMkLst>
        </pc:spChg>
        <pc:spChg chg="mod">
          <ac:chgData name="Alexander Zap" userId="a7da462d-dcce-4fac-877b-2514b43c9eed" providerId="ADAL" clId="{DCC2DD3A-99B9-4B98-997A-D3EC3D66FEE9}" dt="2023-10-08T11:39:43.081" v="2225" actId="20577"/>
          <ac:spMkLst>
            <pc:docMk/>
            <pc:sldMk cId="639341417" sldId="2147474222"/>
            <ac:spMk id="8" creationId="{9249DB86-D936-41B8-1F1B-EBD0DBC7D906}"/>
          </ac:spMkLst>
        </pc:spChg>
        <pc:picChg chg="add mod">
          <ac:chgData name="Alexander Zap" userId="a7da462d-dcce-4fac-877b-2514b43c9eed" providerId="ADAL" clId="{DCC2DD3A-99B9-4B98-997A-D3EC3D66FEE9}" dt="2023-10-08T11:41:09.427" v="2297" actId="14100"/>
          <ac:picMkLst>
            <pc:docMk/>
            <pc:sldMk cId="639341417" sldId="2147474222"/>
            <ac:picMk id="3" creationId="{54E2BF4D-60BE-80B0-1201-05711AA60973}"/>
          </ac:picMkLst>
        </pc:picChg>
        <pc:picChg chg="del">
          <ac:chgData name="Alexander Zap" userId="a7da462d-dcce-4fac-877b-2514b43c9eed" providerId="ADAL" clId="{DCC2DD3A-99B9-4B98-997A-D3EC3D66FEE9}" dt="2023-10-08T11:39:44.118" v="2226" actId="21"/>
          <ac:picMkLst>
            <pc:docMk/>
            <pc:sldMk cId="639341417" sldId="2147474222"/>
            <ac:picMk id="6" creationId="{59FC81A1-885E-C273-0DAE-0C4D19E89D7E}"/>
          </ac:picMkLst>
        </pc:picChg>
      </pc:sldChg>
      <pc:sldChg chg="addSp delSp modSp add del mod">
        <pc:chgData name="Alexander Zap" userId="a7da462d-dcce-4fac-877b-2514b43c9eed" providerId="ADAL" clId="{DCC2DD3A-99B9-4B98-997A-D3EC3D66FEE9}" dt="2023-10-08T11:37:18.782" v="2169" actId="2696"/>
        <pc:sldMkLst>
          <pc:docMk/>
          <pc:sldMk cId="2052460652" sldId="2147474222"/>
        </pc:sldMkLst>
        <pc:picChg chg="del">
          <ac:chgData name="Alexander Zap" userId="a7da462d-dcce-4fac-877b-2514b43c9eed" providerId="ADAL" clId="{DCC2DD3A-99B9-4B98-997A-D3EC3D66FEE9}" dt="2023-10-08T11:35:15.405" v="2140" actId="21"/>
          <ac:picMkLst>
            <pc:docMk/>
            <pc:sldMk cId="2052460652" sldId="2147474222"/>
            <ac:picMk id="3" creationId="{42785A23-5721-83C6-8A45-3BA919415BE8}"/>
          </ac:picMkLst>
        </pc:picChg>
        <pc:picChg chg="add del mod">
          <ac:chgData name="Alexander Zap" userId="a7da462d-dcce-4fac-877b-2514b43c9eed" providerId="ADAL" clId="{DCC2DD3A-99B9-4B98-997A-D3EC3D66FEE9}" dt="2023-10-08T11:36:58.075" v="2165" actId="21"/>
          <ac:picMkLst>
            <pc:docMk/>
            <pc:sldMk cId="2052460652" sldId="2147474222"/>
            <ac:picMk id="5" creationId="{53354E63-3590-0588-E576-469C3A4E5C89}"/>
          </ac:picMkLst>
        </pc:picChg>
      </pc:sldChg>
      <pc:sldChg chg="addSp delSp modSp add mod">
        <pc:chgData name="Alexander Zap" userId="a7da462d-dcce-4fac-877b-2514b43c9eed" providerId="ADAL" clId="{DCC2DD3A-99B9-4B98-997A-D3EC3D66FEE9}" dt="2023-10-08T15:25:59.285" v="2469"/>
        <pc:sldMkLst>
          <pc:docMk/>
          <pc:sldMk cId="1001584011" sldId="2147474223"/>
        </pc:sldMkLst>
        <pc:spChg chg="add mod">
          <ac:chgData name="Alexander Zap" userId="a7da462d-dcce-4fac-877b-2514b43c9eed" providerId="ADAL" clId="{DCC2DD3A-99B9-4B98-997A-D3EC3D66FEE9}" dt="2023-10-08T15:25:59.285" v="2469"/>
          <ac:spMkLst>
            <pc:docMk/>
            <pc:sldMk cId="1001584011" sldId="2147474223"/>
            <ac:spMk id="5" creationId="{EE0280A8-523E-FB10-2F8A-626E3E0EE821}"/>
          </ac:spMkLst>
        </pc:spChg>
        <pc:spChg chg="mod">
          <ac:chgData name="Alexander Zap" userId="a7da462d-dcce-4fac-877b-2514b43c9eed" providerId="ADAL" clId="{DCC2DD3A-99B9-4B98-997A-D3EC3D66FEE9}" dt="2023-10-08T11:39:51.701" v="2230" actId="20577"/>
          <ac:spMkLst>
            <pc:docMk/>
            <pc:sldMk cId="1001584011" sldId="2147474223"/>
            <ac:spMk id="8" creationId="{9249DB86-D936-41B8-1F1B-EBD0DBC7D906}"/>
          </ac:spMkLst>
        </pc:spChg>
        <pc:picChg chg="add mod">
          <ac:chgData name="Alexander Zap" userId="a7da462d-dcce-4fac-877b-2514b43c9eed" providerId="ADAL" clId="{DCC2DD3A-99B9-4B98-997A-D3EC3D66FEE9}" dt="2023-10-08T11:41:19.234" v="2301" actId="14100"/>
          <ac:picMkLst>
            <pc:docMk/>
            <pc:sldMk cId="1001584011" sldId="2147474223"/>
            <ac:picMk id="3" creationId="{3A173C5F-20B6-3FBD-6F89-B3C83215F4C9}"/>
          </ac:picMkLst>
        </pc:picChg>
        <pc:picChg chg="del">
          <ac:chgData name="Alexander Zap" userId="a7da462d-dcce-4fac-877b-2514b43c9eed" providerId="ADAL" clId="{DCC2DD3A-99B9-4B98-997A-D3EC3D66FEE9}" dt="2023-10-08T11:39:46.417" v="2227" actId="21"/>
          <ac:picMkLst>
            <pc:docMk/>
            <pc:sldMk cId="1001584011" sldId="2147474223"/>
            <ac:picMk id="6" creationId="{59FC81A1-885E-C273-0DAE-0C4D19E89D7E}"/>
          </ac:picMkLst>
        </pc:picChg>
      </pc:sldChg>
      <pc:sldChg chg="addSp delSp modSp add mod">
        <pc:chgData name="Alexander Zap" userId="a7da462d-dcce-4fac-877b-2514b43c9eed" providerId="ADAL" clId="{DCC2DD3A-99B9-4B98-997A-D3EC3D66FEE9}" dt="2023-10-08T15:26:01.010" v="2470"/>
        <pc:sldMkLst>
          <pc:docMk/>
          <pc:sldMk cId="1127894993" sldId="2147474224"/>
        </pc:sldMkLst>
        <pc:spChg chg="add mod">
          <ac:chgData name="Alexander Zap" userId="a7da462d-dcce-4fac-877b-2514b43c9eed" providerId="ADAL" clId="{DCC2DD3A-99B9-4B98-997A-D3EC3D66FEE9}" dt="2023-10-08T15:26:01.010" v="2470"/>
          <ac:spMkLst>
            <pc:docMk/>
            <pc:sldMk cId="1127894993" sldId="2147474224"/>
            <ac:spMk id="5" creationId="{180CA4FD-3477-0826-D62F-1BCD9B6B775F}"/>
          </ac:spMkLst>
        </pc:spChg>
        <pc:spChg chg="mod">
          <ac:chgData name="Alexander Zap" userId="a7da462d-dcce-4fac-877b-2514b43c9eed" providerId="ADAL" clId="{DCC2DD3A-99B9-4B98-997A-D3EC3D66FEE9}" dt="2023-10-08T11:39:49.017" v="2229" actId="20577"/>
          <ac:spMkLst>
            <pc:docMk/>
            <pc:sldMk cId="1127894993" sldId="2147474224"/>
            <ac:spMk id="8" creationId="{9249DB86-D936-41B8-1F1B-EBD0DBC7D906}"/>
          </ac:spMkLst>
        </pc:spChg>
        <pc:picChg chg="add mod">
          <ac:chgData name="Alexander Zap" userId="a7da462d-dcce-4fac-877b-2514b43c9eed" providerId="ADAL" clId="{DCC2DD3A-99B9-4B98-997A-D3EC3D66FEE9}" dt="2023-10-08T11:41:37.330" v="2306" actId="14100"/>
          <ac:picMkLst>
            <pc:docMk/>
            <pc:sldMk cId="1127894993" sldId="2147474224"/>
            <ac:picMk id="3" creationId="{C49D6577-A62D-73D2-1BE0-5A85208F2818}"/>
          </ac:picMkLst>
        </pc:picChg>
        <pc:picChg chg="del">
          <ac:chgData name="Alexander Zap" userId="a7da462d-dcce-4fac-877b-2514b43c9eed" providerId="ADAL" clId="{DCC2DD3A-99B9-4B98-997A-D3EC3D66FEE9}" dt="2023-10-08T11:39:47.586" v="2228" actId="21"/>
          <ac:picMkLst>
            <pc:docMk/>
            <pc:sldMk cId="1127894993" sldId="2147474224"/>
            <ac:picMk id="6" creationId="{59FC81A1-885E-C273-0DAE-0C4D19E89D7E}"/>
          </ac:picMkLst>
        </pc:picChg>
      </pc:sldChg>
      <pc:sldChg chg="addSp delSp modSp add mod">
        <pc:chgData name="Alexander Zap" userId="a7da462d-dcce-4fac-877b-2514b43c9eed" providerId="ADAL" clId="{DCC2DD3A-99B9-4B98-997A-D3EC3D66FEE9}" dt="2023-10-08T15:26:02.604" v="2471"/>
        <pc:sldMkLst>
          <pc:docMk/>
          <pc:sldMk cId="240781366" sldId="2147474225"/>
        </pc:sldMkLst>
        <pc:spChg chg="add mod">
          <ac:chgData name="Alexander Zap" userId="a7da462d-dcce-4fac-877b-2514b43c9eed" providerId="ADAL" clId="{DCC2DD3A-99B9-4B98-997A-D3EC3D66FEE9}" dt="2023-10-08T15:26:02.604" v="2471"/>
          <ac:spMkLst>
            <pc:docMk/>
            <pc:sldMk cId="240781366" sldId="2147474225"/>
            <ac:spMk id="6" creationId="{50E05253-5CFE-E6BD-7DD9-5C323A9804DA}"/>
          </ac:spMkLst>
        </pc:spChg>
        <pc:spChg chg="mod">
          <ac:chgData name="Alexander Zap" userId="a7da462d-dcce-4fac-877b-2514b43c9eed" providerId="ADAL" clId="{DCC2DD3A-99B9-4B98-997A-D3EC3D66FEE9}" dt="2023-10-08T11:42:22.220" v="2324" actId="6549"/>
          <ac:spMkLst>
            <pc:docMk/>
            <pc:sldMk cId="240781366" sldId="2147474225"/>
            <ac:spMk id="8" creationId="{9249DB86-D936-41B8-1F1B-EBD0DBC7D906}"/>
          </ac:spMkLst>
        </pc:spChg>
        <pc:picChg chg="del">
          <ac:chgData name="Alexander Zap" userId="a7da462d-dcce-4fac-877b-2514b43c9eed" providerId="ADAL" clId="{DCC2DD3A-99B9-4B98-997A-D3EC3D66FEE9}" dt="2023-10-08T11:42:23.574" v="2325" actId="21"/>
          <ac:picMkLst>
            <pc:docMk/>
            <pc:sldMk cId="240781366" sldId="2147474225"/>
            <ac:picMk id="3" creationId="{C49D6577-A62D-73D2-1BE0-5A85208F2818}"/>
          </ac:picMkLst>
        </pc:picChg>
        <pc:picChg chg="add mod">
          <ac:chgData name="Alexander Zap" userId="a7da462d-dcce-4fac-877b-2514b43c9eed" providerId="ADAL" clId="{DCC2DD3A-99B9-4B98-997A-D3EC3D66FEE9}" dt="2023-10-08T11:42:43.684" v="2328" actId="14100"/>
          <ac:picMkLst>
            <pc:docMk/>
            <pc:sldMk cId="240781366" sldId="2147474225"/>
            <ac:picMk id="5" creationId="{D6BE3D71-82DF-448B-C22E-3314507C4B4E}"/>
          </ac:picMkLst>
        </pc:picChg>
      </pc:sldChg>
      <pc:sldChg chg="add del setBg">
        <pc:chgData name="Alexander Zap" userId="a7da462d-dcce-4fac-877b-2514b43c9eed" providerId="ADAL" clId="{DCC2DD3A-99B9-4B98-997A-D3EC3D66FEE9}" dt="2023-10-08T11:42:14.509" v="2309"/>
        <pc:sldMkLst>
          <pc:docMk/>
          <pc:sldMk cId="652109767" sldId="2147474225"/>
        </pc:sldMkLst>
      </pc:sldChg>
      <pc:sldChg chg="addSp delSp modSp add mod">
        <pc:chgData name="Alexander Zap" userId="a7da462d-dcce-4fac-877b-2514b43c9eed" providerId="ADAL" clId="{DCC2DD3A-99B9-4B98-997A-D3EC3D66FEE9}" dt="2023-10-08T15:33:45.380" v="2542" actId="14100"/>
        <pc:sldMkLst>
          <pc:docMk/>
          <pc:sldMk cId="893619956" sldId="2147474226"/>
        </pc:sldMkLst>
        <pc:picChg chg="add mod">
          <ac:chgData name="Alexander Zap" userId="a7da462d-dcce-4fac-877b-2514b43c9eed" providerId="ADAL" clId="{DCC2DD3A-99B9-4B98-997A-D3EC3D66FEE9}" dt="2023-10-08T15:33:45.380" v="2542" actId="14100"/>
          <ac:picMkLst>
            <pc:docMk/>
            <pc:sldMk cId="893619956" sldId="2147474226"/>
            <ac:picMk id="3" creationId="{8F344623-C340-E5F4-373D-9153DDB07564}"/>
          </ac:picMkLst>
        </pc:picChg>
        <pc:picChg chg="del">
          <ac:chgData name="Alexander Zap" userId="a7da462d-dcce-4fac-877b-2514b43c9eed" providerId="ADAL" clId="{DCC2DD3A-99B9-4B98-997A-D3EC3D66FEE9}" dt="2023-10-08T15:33:36.228" v="2538" actId="21"/>
          <ac:picMkLst>
            <pc:docMk/>
            <pc:sldMk cId="893619956" sldId="2147474226"/>
            <ac:picMk id="6" creationId="{59FC81A1-885E-C273-0DAE-0C4D19E89D7E}"/>
          </ac:picMkLst>
        </pc:picChg>
      </pc:sldChg>
      <pc:sldMasterChg chg="del delSldLayout">
        <pc:chgData name="Alexander Zap" userId="a7da462d-dcce-4fac-877b-2514b43c9eed" providerId="ADAL" clId="{DCC2DD3A-99B9-4B98-997A-D3EC3D66FEE9}" dt="2023-10-07T11:07:35.079" v="3" actId="2696"/>
        <pc:sldMasterMkLst>
          <pc:docMk/>
          <pc:sldMasterMk cId="888864847" sldId="2147483787"/>
        </pc:sldMasterMkLst>
        <pc:sldLayoutChg chg="del">
          <pc:chgData name="Alexander Zap" userId="a7da462d-dcce-4fac-877b-2514b43c9eed" providerId="ADAL" clId="{DCC2DD3A-99B9-4B98-997A-D3EC3D66FEE9}" dt="2023-10-07T11:07:35.079" v="3" actId="2696"/>
          <pc:sldLayoutMkLst>
            <pc:docMk/>
            <pc:sldMasterMk cId="888864847" sldId="2147483787"/>
            <pc:sldLayoutMk cId="3040328824" sldId="2147483674"/>
          </pc:sldLayoutMkLst>
        </pc:sldLayoutChg>
        <pc:sldLayoutChg chg="del">
          <pc:chgData name="Alexander Zap" userId="a7da462d-dcce-4fac-877b-2514b43c9eed" providerId="ADAL" clId="{DCC2DD3A-99B9-4B98-997A-D3EC3D66FEE9}" dt="2023-10-07T11:07:35.079" v="3" actId="2696"/>
          <pc:sldLayoutMkLst>
            <pc:docMk/>
            <pc:sldMasterMk cId="888864847" sldId="2147483787"/>
            <pc:sldLayoutMk cId="1199895562" sldId="2147483675"/>
          </pc:sldLayoutMkLst>
        </pc:sldLayoutChg>
        <pc:sldLayoutChg chg="del">
          <pc:chgData name="Alexander Zap" userId="a7da462d-dcce-4fac-877b-2514b43c9eed" providerId="ADAL" clId="{DCC2DD3A-99B9-4B98-997A-D3EC3D66FEE9}" dt="2023-10-07T11:07:35.079" v="3" actId="2696"/>
          <pc:sldLayoutMkLst>
            <pc:docMk/>
            <pc:sldMasterMk cId="888864847" sldId="2147483787"/>
            <pc:sldLayoutMk cId="2766584643" sldId="2147483676"/>
          </pc:sldLayoutMkLst>
        </pc:sldLayoutChg>
        <pc:sldLayoutChg chg="del">
          <pc:chgData name="Alexander Zap" userId="a7da462d-dcce-4fac-877b-2514b43c9eed" providerId="ADAL" clId="{DCC2DD3A-99B9-4B98-997A-D3EC3D66FEE9}" dt="2023-10-07T11:07:35.079" v="3" actId="2696"/>
          <pc:sldLayoutMkLst>
            <pc:docMk/>
            <pc:sldMasterMk cId="888864847" sldId="2147483787"/>
            <pc:sldLayoutMk cId="969607568" sldId="2147483772"/>
          </pc:sldLayoutMkLst>
        </pc:sldLayoutChg>
        <pc:sldLayoutChg chg="del">
          <pc:chgData name="Alexander Zap" userId="a7da462d-dcce-4fac-877b-2514b43c9eed" providerId="ADAL" clId="{DCC2DD3A-99B9-4B98-997A-D3EC3D66FEE9}" dt="2023-10-07T11:07:35.079" v="3" actId="2696"/>
          <pc:sldLayoutMkLst>
            <pc:docMk/>
            <pc:sldMasterMk cId="888864847" sldId="2147483787"/>
            <pc:sldLayoutMk cId="409109893" sldId="2147483775"/>
          </pc:sldLayoutMkLst>
        </pc:sldLayoutChg>
        <pc:sldLayoutChg chg="del">
          <pc:chgData name="Alexander Zap" userId="a7da462d-dcce-4fac-877b-2514b43c9eed" providerId="ADAL" clId="{DCC2DD3A-99B9-4B98-997A-D3EC3D66FEE9}" dt="2023-10-07T11:07:35.079" v="3" actId="2696"/>
          <pc:sldLayoutMkLst>
            <pc:docMk/>
            <pc:sldMasterMk cId="888864847" sldId="2147483787"/>
            <pc:sldLayoutMk cId="1634867980" sldId="2147483776"/>
          </pc:sldLayoutMkLst>
        </pc:sldLayoutChg>
        <pc:sldLayoutChg chg="del">
          <pc:chgData name="Alexander Zap" userId="a7da462d-dcce-4fac-877b-2514b43c9eed" providerId="ADAL" clId="{DCC2DD3A-99B9-4B98-997A-D3EC3D66FEE9}" dt="2023-10-07T11:07:35.079" v="3" actId="2696"/>
          <pc:sldLayoutMkLst>
            <pc:docMk/>
            <pc:sldMasterMk cId="888864847" sldId="2147483787"/>
            <pc:sldLayoutMk cId="2693585833" sldId="2147483779"/>
          </pc:sldLayoutMkLst>
        </pc:sldLayoutChg>
        <pc:sldLayoutChg chg="del">
          <pc:chgData name="Alexander Zap" userId="a7da462d-dcce-4fac-877b-2514b43c9eed" providerId="ADAL" clId="{DCC2DD3A-99B9-4B98-997A-D3EC3D66FEE9}" dt="2023-10-07T11:07:35.079" v="3" actId="2696"/>
          <pc:sldLayoutMkLst>
            <pc:docMk/>
            <pc:sldMasterMk cId="888864847" sldId="2147483787"/>
            <pc:sldLayoutMk cId="3987753946" sldId="2147483780"/>
          </pc:sldLayoutMkLst>
        </pc:sldLayoutChg>
        <pc:sldLayoutChg chg="del">
          <pc:chgData name="Alexander Zap" userId="a7da462d-dcce-4fac-877b-2514b43c9eed" providerId="ADAL" clId="{DCC2DD3A-99B9-4B98-997A-D3EC3D66FEE9}" dt="2023-10-07T11:07:35.079" v="3" actId="2696"/>
          <pc:sldLayoutMkLst>
            <pc:docMk/>
            <pc:sldMasterMk cId="888864847" sldId="2147483787"/>
            <pc:sldLayoutMk cId="2202171482" sldId="2147483781"/>
          </pc:sldLayoutMkLst>
        </pc:sldLayoutChg>
        <pc:sldLayoutChg chg="del">
          <pc:chgData name="Alexander Zap" userId="a7da462d-dcce-4fac-877b-2514b43c9eed" providerId="ADAL" clId="{DCC2DD3A-99B9-4B98-997A-D3EC3D66FEE9}" dt="2023-10-07T11:07:35.079" v="3" actId="2696"/>
          <pc:sldLayoutMkLst>
            <pc:docMk/>
            <pc:sldMasterMk cId="888864847" sldId="2147483787"/>
            <pc:sldLayoutMk cId="1968972579" sldId="2147483782"/>
          </pc:sldLayoutMkLst>
        </pc:sldLayoutChg>
        <pc:sldLayoutChg chg="del">
          <pc:chgData name="Alexander Zap" userId="a7da462d-dcce-4fac-877b-2514b43c9eed" providerId="ADAL" clId="{DCC2DD3A-99B9-4B98-997A-D3EC3D66FEE9}" dt="2023-10-07T11:07:35.079" v="3" actId="2696"/>
          <pc:sldLayoutMkLst>
            <pc:docMk/>
            <pc:sldMasterMk cId="888864847" sldId="2147483787"/>
            <pc:sldLayoutMk cId="2566311160" sldId="2147483783"/>
          </pc:sldLayoutMkLst>
        </pc:sldLayoutChg>
        <pc:sldLayoutChg chg="del">
          <pc:chgData name="Alexander Zap" userId="a7da462d-dcce-4fac-877b-2514b43c9eed" providerId="ADAL" clId="{DCC2DD3A-99B9-4B98-997A-D3EC3D66FEE9}" dt="2023-10-07T11:07:35.079" v="3" actId="2696"/>
          <pc:sldLayoutMkLst>
            <pc:docMk/>
            <pc:sldMasterMk cId="888864847" sldId="2147483787"/>
            <pc:sldLayoutMk cId="1037257944" sldId="2147483784"/>
          </pc:sldLayoutMkLst>
        </pc:sldLayoutChg>
        <pc:sldLayoutChg chg="del">
          <pc:chgData name="Alexander Zap" userId="a7da462d-dcce-4fac-877b-2514b43c9eed" providerId="ADAL" clId="{DCC2DD3A-99B9-4B98-997A-D3EC3D66FEE9}" dt="2023-10-07T11:07:35.079" v="3" actId="2696"/>
          <pc:sldLayoutMkLst>
            <pc:docMk/>
            <pc:sldMasterMk cId="888864847" sldId="2147483787"/>
            <pc:sldLayoutMk cId="3458566624" sldId="2147483785"/>
          </pc:sldLayoutMkLst>
        </pc:sldLayoutChg>
        <pc:sldLayoutChg chg="del">
          <pc:chgData name="Alexander Zap" userId="a7da462d-dcce-4fac-877b-2514b43c9eed" providerId="ADAL" clId="{DCC2DD3A-99B9-4B98-997A-D3EC3D66FEE9}" dt="2023-10-07T11:07:35.079" v="3" actId="2696"/>
          <pc:sldLayoutMkLst>
            <pc:docMk/>
            <pc:sldMasterMk cId="888864847" sldId="2147483787"/>
            <pc:sldLayoutMk cId="1217178662" sldId="2147483786"/>
          </pc:sldLayoutMkLst>
        </pc:sldLayoutChg>
        <pc:sldLayoutChg chg="del">
          <pc:chgData name="Alexander Zap" userId="a7da462d-dcce-4fac-877b-2514b43c9eed" providerId="ADAL" clId="{DCC2DD3A-99B9-4B98-997A-D3EC3D66FEE9}" dt="2023-10-07T11:07:35.079" v="3" actId="2696"/>
          <pc:sldLayoutMkLst>
            <pc:docMk/>
            <pc:sldMasterMk cId="888864847" sldId="2147483787"/>
            <pc:sldLayoutMk cId="1019864951" sldId="2147483788"/>
          </pc:sldLayoutMkLst>
        </pc:sldLayoutChg>
      </pc:sldMasterChg>
    </pc:docChg>
  </pc:docChgLst>
  <pc:docChgLst>
    <pc:chgData name="Alexander Zap" userId="a7da462d-dcce-4fac-877b-2514b43c9eed" providerId="ADAL" clId="{779EC387-16BD-4ED8-8FF7-404756A5D4C0}"/>
    <pc:docChg chg="undo redo custSel addSld delSld modSld sldOrd">
      <pc:chgData name="Alexander Zap" userId="a7da462d-dcce-4fac-877b-2514b43c9eed" providerId="ADAL" clId="{779EC387-16BD-4ED8-8FF7-404756A5D4C0}" dt="2023-09-28T10:23:39.122" v="4618" actId="20577"/>
      <pc:docMkLst>
        <pc:docMk/>
      </pc:docMkLst>
      <pc:sldChg chg="modSp mod">
        <pc:chgData name="Alexander Zap" userId="a7da462d-dcce-4fac-877b-2514b43c9eed" providerId="ADAL" clId="{779EC387-16BD-4ED8-8FF7-404756A5D4C0}" dt="2023-09-27T14:05:59.903" v="1113" actId="1076"/>
        <pc:sldMkLst>
          <pc:docMk/>
          <pc:sldMk cId="2026415032" sldId="257"/>
        </pc:sldMkLst>
        <pc:spChg chg="mod">
          <ac:chgData name="Alexander Zap" userId="a7da462d-dcce-4fac-877b-2514b43c9eed" providerId="ADAL" clId="{779EC387-16BD-4ED8-8FF7-404756A5D4C0}" dt="2023-09-27T14:03:35.696" v="866" actId="20577"/>
          <ac:spMkLst>
            <pc:docMk/>
            <pc:sldMk cId="2026415032" sldId="257"/>
            <ac:spMk id="7" creationId="{70C2DC48-BA50-D84E-D2E4-75EF60F1F0E3}"/>
          </ac:spMkLst>
        </pc:spChg>
        <pc:spChg chg="mod">
          <ac:chgData name="Alexander Zap" userId="a7da462d-dcce-4fac-877b-2514b43c9eed" providerId="ADAL" clId="{779EC387-16BD-4ED8-8FF7-404756A5D4C0}" dt="2023-09-27T14:04:08.525" v="897" actId="20577"/>
          <ac:spMkLst>
            <pc:docMk/>
            <pc:sldMk cId="2026415032" sldId="257"/>
            <ac:spMk id="14" creationId="{A51A9BE7-905E-1D94-7826-E1CD76DC3764}"/>
          </ac:spMkLst>
        </pc:spChg>
        <pc:spChg chg="mod">
          <ac:chgData name="Alexander Zap" userId="a7da462d-dcce-4fac-877b-2514b43c9eed" providerId="ADAL" clId="{779EC387-16BD-4ED8-8FF7-404756A5D4C0}" dt="2023-09-27T14:05:58.840" v="1112" actId="20577"/>
          <ac:spMkLst>
            <pc:docMk/>
            <pc:sldMk cId="2026415032" sldId="257"/>
            <ac:spMk id="22" creationId="{7D7CFCA7-9E08-8309-3E4E-71AF1448196B}"/>
          </ac:spMkLst>
        </pc:spChg>
        <pc:spChg chg="mod">
          <ac:chgData name="Alexander Zap" userId="a7da462d-dcce-4fac-877b-2514b43c9eed" providerId="ADAL" clId="{779EC387-16BD-4ED8-8FF7-404756A5D4C0}" dt="2023-09-27T14:03:42.328" v="891" actId="20577"/>
          <ac:spMkLst>
            <pc:docMk/>
            <pc:sldMk cId="2026415032" sldId="257"/>
            <ac:spMk id="30" creationId="{6C1294EF-01E1-45C6-CF2A-C183B2709729}"/>
          </ac:spMkLst>
        </pc:spChg>
        <pc:grpChg chg="mod">
          <ac:chgData name="Alexander Zap" userId="a7da462d-dcce-4fac-877b-2514b43c9eed" providerId="ADAL" clId="{779EC387-16BD-4ED8-8FF7-404756A5D4C0}" dt="2023-09-27T14:05:59.903" v="1113" actId="1076"/>
          <ac:grpSpMkLst>
            <pc:docMk/>
            <pc:sldMk cId="2026415032" sldId="257"/>
            <ac:grpSpMk id="2" creationId="{D4BB2CFE-EEDA-9DC2-633D-23A2D6402BF3}"/>
          </ac:grpSpMkLst>
        </pc:grpChg>
      </pc:sldChg>
      <pc:sldChg chg="modSp mod">
        <pc:chgData name="Alexander Zap" userId="a7da462d-dcce-4fac-877b-2514b43c9eed" providerId="ADAL" clId="{779EC387-16BD-4ED8-8FF7-404756A5D4C0}" dt="2023-09-27T14:22:41.323" v="3675" actId="6549"/>
        <pc:sldMkLst>
          <pc:docMk/>
          <pc:sldMk cId="1330262203" sldId="2147380583"/>
        </pc:sldMkLst>
        <pc:spChg chg="mod">
          <ac:chgData name="Alexander Zap" userId="a7da462d-dcce-4fac-877b-2514b43c9eed" providerId="ADAL" clId="{779EC387-16BD-4ED8-8FF7-404756A5D4C0}" dt="2023-09-27T14:22:41.323" v="3675" actId="6549"/>
          <ac:spMkLst>
            <pc:docMk/>
            <pc:sldMk cId="1330262203" sldId="2147380583"/>
            <ac:spMk id="11" creationId="{9178F8BD-3435-52DB-24E1-10CE374B1167}"/>
          </ac:spMkLst>
        </pc:spChg>
      </pc:sldChg>
      <pc:sldChg chg="modSp mod">
        <pc:chgData name="Alexander Zap" userId="a7da462d-dcce-4fac-877b-2514b43c9eed" providerId="ADAL" clId="{779EC387-16BD-4ED8-8FF7-404756A5D4C0}" dt="2023-09-27T14:05:26.194" v="1017" actId="20577"/>
        <pc:sldMkLst>
          <pc:docMk/>
          <pc:sldMk cId="1497516128" sldId="2147380589"/>
        </pc:sldMkLst>
        <pc:spChg chg="mod">
          <ac:chgData name="Alexander Zap" userId="a7da462d-dcce-4fac-877b-2514b43c9eed" providerId="ADAL" clId="{779EC387-16BD-4ED8-8FF7-404756A5D4C0}" dt="2023-09-27T14:04:30.232" v="968" actId="6549"/>
          <ac:spMkLst>
            <pc:docMk/>
            <pc:sldMk cId="1497516128" sldId="2147380589"/>
            <ac:spMk id="21" creationId="{938B4659-68CA-ADEC-EEC3-C6DBCA3F8A21}"/>
          </ac:spMkLst>
        </pc:spChg>
        <pc:spChg chg="mod">
          <ac:chgData name="Alexander Zap" userId="a7da462d-dcce-4fac-877b-2514b43c9eed" providerId="ADAL" clId="{779EC387-16BD-4ED8-8FF7-404756A5D4C0}" dt="2023-09-27T14:05:26.194" v="1017" actId="20577"/>
          <ac:spMkLst>
            <pc:docMk/>
            <pc:sldMk cId="1497516128" sldId="2147380589"/>
            <ac:spMk id="29" creationId="{10353FD9-C7EF-4CE3-7E14-09A54B33B4FB}"/>
          </ac:spMkLst>
        </pc:spChg>
        <pc:spChg chg="mod">
          <ac:chgData name="Alexander Zap" userId="a7da462d-dcce-4fac-877b-2514b43c9eed" providerId="ADAL" clId="{779EC387-16BD-4ED8-8FF7-404756A5D4C0}" dt="2023-09-27T14:04:57.174" v="993"/>
          <ac:spMkLst>
            <pc:docMk/>
            <pc:sldMk cId="1497516128" sldId="2147380589"/>
            <ac:spMk id="33" creationId="{AF2E7AA2-D6D8-FE7B-1D10-C7BA10E20239}"/>
          </ac:spMkLst>
        </pc:spChg>
      </pc:sldChg>
      <pc:sldChg chg="modSp mod">
        <pc:chgData name="Alexander Zap" userId="a7da462d-dcce-4fac-877b-2514b43c9eed" providerId="ADAL" clId="{779EC387-16BD-4ED8-8FF7-404756A5D4C0}" dt="2023-09-27T14:36:58.872" v="3764" actId="20577"/>
        <pc:sldMkLst>
          <pc:docMk/>
          <pc:sldMk cId="2687979824" sldId="2147380591"/>
        </pc:sldMkLst>
        <pc:spChg chg="mod">
          <ac:chgData name="Alexander Zap" userId="a7da462d-dcce-4fac-877b-2514b43c9eed" providerId="ADAL" clId="{779EC387-16BD-4ED8-8FF7-404756A5D4C0}" dt="2023-09-27T14:08:18.768" v="1466" actId="20577"/>
          <ac:spMkLst>
            <pc:docMk/>
            <pc:sldMk cId="2687979824" sldId="2147380591"/>
            <ac:spMk id="22" creationId="{C2D4C324-E746-C5DE-4FC2-6FC2202DD44B}"/>
          </ac:spMkLst>
        </pc:spChg>
        <pc:spChg chg="mod">
          <ac:chgData name="Alexander Zap" userId="a7da462d-dcce-4fac-877b-2514b43c9eed" providerId="ADAL" clId="{779EC387-16BD-4ED8-8FF7-404756A5D4C0}" dt="2023-09-27T14:04:59.498" v="994"/>
          <ac:spMkLst>
            <pc:docMk/>
            <pc:sldMk cId="2687979824" sldId="2147380591"/>
            <ac:spMk id="30" creationId="{6C1294EF-01E1-45C6-CF2A-C183B2709729}"/>
          </ac:spMkLst>
        </pc:spChg>
        <pc:spChg chg="mod">
          <ac:chgData name="Alexander Zap" userId="a7da462d-dcce-4fac-877b-2514b43c9eed" providerId="ADAL" clId="{779EC387-16BD-4ED8-8FF7-404756A5D4C0}" dt="2023-09-27T14:35:35.688" v="3751" actId="20577"/>
          <ac:spMkLst>
            <pc:docMk/>
            <pc:sldMk cId="2687979824" sldId="2147380591"/>
            <ac:spMk id="56" creationId="{ECA51D67-6177-2832-FAF7-7083C5E25726}"/>
          </ac:spMkLst>
        </pc:spChg>
        <pc:spChg chg="mod">
          <ac:chgData name="Alexander Zap" userId="a7da462d-dcce-4fac-877b-2514b43c9eed" providerId="ADAL" clId="{779EC387-16BD-4ED8-8FF7-404756A5D4C0}" dt="2023-09-27T14:36:47.968" v="3755" actId="20577"/>
          <ac:spMkLst>
            <pc:docMk/>
            <pc:sldMk cId="2687979824" sldId="2147380591"/>
            <ac:spMk id="59" creationId="{559F97E3-9835-8D2A-2C91-A3F8D0575E3F}"/>
          </ac:spMkLst>
        </pc:spChg>
        <pc:spChg chg="mod">
          <ac:chgData name="Alexander Zap" userId="a7da462d-dcce-4fac-877b-2514b43c9eed" providerId="ADAL" clId="{779EC387-16BD-4ED8-8FF7-404756A5D4C0}" dt="2023-09-27T14:36:58.872" v="3764" actId="20577"/>
          <ac:spMkLst>
            <pc:docMk/>
            <pc:sldMk cId="2687979824" sldId="2147380591"/>
            <ac:spMk id="62" creationId="{E92A096E-9377-38E0-7128-17F6BA334CBA}"/>
          </ac:spMkLst>
        </pc:spChg>
      </pc:sldChg>
      <pc:sldChg chg="modSp mod">
        <pc:chgData name="Alexander Zap" userId="a7da462d-dcce-4fac-877b-2514b43c9eed" providerId="ADAL" clId="{779EC387-16BD-4ED8-8FF7-404756A5D4C0}" dt="2023-09-27T14:37:47.683" v="3804" actId="313"/>
        <pc:sldMkLst>
          <pc:docMk/>
          <pc:sldMk cId="4039674106" sldId="2147380592"/>
        </pc:sldMkLst>
        <pc:spChg chg="mod">
          <ac:chgData name="Alexander Zap" userId="a7da462d-dcce-4fac-877b-2514b43c9eed" providerId="ADAL" clId="{779EC387-16BD-4ED8-8FF7-404756A5D4C0}" dt="2023-09-27T14:37:47.683" v="3804" actId="313"/>
          <ac:spMkLst>
            <pc:docMk/>
            <pc:sldMk cId="4039674106" sldId="2147380592"/>
            <ac:spMk id="22" creationId="{FB8EE717-3768-5746-3F01-90E496ED7439}"/>
          </ac:spMkLst>
        </pc:spChg>
        <pc:spChg chg="mod">
          <ac:chgData name="Alexander Zap" userId="a7da462d-dcce-4fac-877b-2514b43c9eed" providerId="ADAL" clId="{779EC387-16BD-4ED8-8FF7-404756A5D4C0}" dt="2023-09-27T14:11:56.959" v="2139" actId="20577"/>
          <ac:spMkLst>
            <pc:docMk/>
            <pc:sldMk cId="4039674106" sldId="2147380592"/>
            <ac:spMk id="31" creationId="{091DD963-4B3D-ACFC-E05E-7EAE2D9586B9}"/>
          </ac:spMkLst>
        </pc:spChg>
        <pc:spChg chg="mod">
          <ac:chgData name="Alexander Zap" userId="a7da462d-dcce-4fac-877b-2514b43c9eed" providerId="ADAL" clId="{779EC387-16BD-4ED8-8FF7-404756A5D4C0}" dt="2023-09-27T14:05:05.678" v="995"/>
          <ac:spMkLst>
            <pc:docMk/>
            <pc:sldMk cId="4039674106" sldId="2147380592"/>
            <ac:spMk id="63" creationId="{EB326711-C123-5E73-6FD2-3B85CAD2EDCB}"/>
          </ac:spMkLst>
        </pc:spChg>
        <pc:spChg chg="mod">
          <ac:chgData name="Alexander Zap" userId="a7da462d-dcce-4fac-877b-2514b43c9eed" providerId="ADAL" clId="{779EC387-16BD-4ED8-8FF7-404756A5D4C0}" dt="2023-09-27T14:37:12.111" v="3796" actId="20577"/>
          <ac:spMkLst>
            <pc:docMk/>
            <pc:sldMk cId="4039674106" sldId="2147380592"/>
            <ac:spMk id="66" creationId="{504B803A-8757-26C7-90DB-551EED6A38AA}"/>
          </ac:spMkLst>
        </pc:spChg>
        <pc:grpChg chg="mod">
          <ac:chgData name="Alexander Zap" userId="a7da462d-dcce-4fac-877b-2514b43c9eed" providerId="ADAL" clId="{779EC387-16BD-4ED8-8FF7-404756A5D4C0}" dt="2023-09-27T14:11:36.203" v="2120" actId="14100"/>
          <ac:grpSpMkLst>
            <pc:docMk/>
            <pc:sldMk cId="4039674106" sldId="2147380592"/>
            <ac:grpSpMk id="29" creationId="{54964796-81AE-177A-8ABD-F4C555F430FF}"/>
          </ac:grpSpMkLst>
        </pc:grpChg>
      </pc:sldChg>
      <pc:sldChg chg="modSp mod">
        <pc:chgData name="Alexander Zap" userId="a7da462d-dcce-4fac-877b-2514b43c9eed" providerId="ADAL" clId="{779EC387-16BD-4ED8-8FF7-404756A5D4C0}" dt="2023-09-28T10:22:28.685" v="4570" actId="20577"/>
        <pc:sldMkLst>
          <pc:docMk/>
          <pc:sldMk cId="529223583" sldId="2147380594"/>
        </pc:sldMkLst>
        <pc:spChg chg="mod">
          <ac:chgData name="Alexander Zap" userId="a7da462d-dcce-4fac-877b-2514b43c9eed" providerId="ADAL" clId="{779EC387-16BD-4ED8-8FF7-404756A5D4C0}" dt="2023-09-28T10:22:28.685" v="4570" actId="20577"/>
          <ac:spMkLst>
            <pc:docMk/>
            <pc:sldMk cId="529223583" sldId="2147380594"/>
            <ac:spMk id="36" creationId="{35CE9583-3929-7421-EDAB-54A72258867C}"/>
          </ac:spMkLst>
        </pc:spChg>
        <pc:spChg chg="mod">
          <ac:chgData name="Alexander Zap" userId="a7da462d-dcce-4fac-877b-2514b43c9eed" providerId="ADAL" clId="{779EC387-16BD-4ED8-8FF7-404756A5D4C0}" dt="2023-09-27T14:40:58.034" v="4190" actId="20577"/>
          <ac:spMkLst>
            <pc:docMk/>
            <pc:sldMk cId="529223583" sldId="2147380594"/>
            <ac:spMk id="37" creationId="{8E762868-4C4E-88F9-B3C4-248A2FFDA872}"/>
          </ac:spMkLst>
        </pc:spChg>
        <pc:spChg chg="mod">
          <ac:chgData name="Alexander Zap" userId="a7da462d-dcce-4fac-877b-2514b43c9eed" providerId="ADAL" clId="{779EC387-16BD-4ED8-8FF7-404756A5D4C0}" dt="2023-09-27T14:39:45.520" v="3982" actId="14100"/>
          <ac:spMkLst>
            <pc:docMk/>
            <pc:sldMk cId="529223583" sldId="2147380594"/>
            <ac:spMk id="58" creationId="{A6D098A2-B487-01F2-EAB1-C425B137B5DA}"/>
          </ac:spMkLst>
        </pc:spChg>
        <pc:spChg chg="mod">
          <ac:chgData name="Alexander Zap" userId="a7da462d-dcce-4fac-877b-2514b43c9eed" providerId="ADAL" clId="{779EC387-16BD-4ED8-8FF7-404756A5D4C0}" dt="2023-09-27T14:39:51.085" v="3983"/>
          <ac:spMkLst>
            <pc:docMk/>
            <pc:sldMk cId="529223583" sldId="2147380594"/>
            <ac:spMk id="61" creationId="{6A2F252B-A39D-DFA3-2CD5-CE591C874BA0}"/>
          </ac:spMkLst>
        </pc:spChg>
        <pc:grpChg chg="mod">
          <ac:chgData name="Alexander Zap" userId="a7da462d-dcce-4fac-877b-2514b43c9eed" providerId="ADAL" clId="{779EC387-16BD-4ED8-8FF7-404756A5D4C0}" dt="2023-09-28T10:22:10.046" v="4565" actId="14100"/>
          <ac:grpSpMkLst>
            <pc:docMk/>
            <pc:sldMk cId="529223583" sldId="2147380594"/>
            <ac:grpSpMk id="35" creationId="{7DD8FF2C-F428-D99A-3BD1-1414815D52C8}"/>
          </ac:grpSpMkLst>
        </pc:grpChg>
        <pc:graphicFrameChg chg="mod modGraphic">
          <ac:chgData name="Alexander Zap" userId="a7da462d-dcce-4fac-877b-2514b43c9eed" providerId="ADAL" clId="{779EC387-16BD-4ED8-8FF7-404756A5D4C0}" dt="2023-09-27T14:43:36.026" v="4493" actId="14734"/>
          <ac:graphicFrameMkLst>
            <pc:docMk/>
            <pc:sldMk cId="529223583" sldId="2147380594"/>
            <ac:graphicFrameMk id="34" creationId="{21F6C9A1-9B23-B47B-207A-5368BE5292A6}"/>
          </ac:graphicFrameMkLst>
        </pc:graphicFrameChg>
      </pc:sldChg>
      <pc:sldChg chg="modSp mod">
        <pc:chgData name="Alexander Zap" userId="a7da462d-dcce-4fac-877b-2514b43c9eed" providerId="ADAL" clId="{779EC387-16BD-4ED8-8FF7-404756A5D4C0}" dt="2023-09-27T14:13:14.592" v="2275" actId="20577"/>
        <pc:sldMkLst>
          <pc:docMk/>
          <pc:sldMk cId="632928928" sldId="2147474142"/>
        </pc:sldMkLst>
        <pc:spChg chg="mod">
          <ac:chgData name="Alexander Zap" userId="a7da462d-dcce-4fac-877b-2514b43c9eed" providerId="ADAL" clId="{779EC387-16BD-4ED8-8FF7-404756A5D4C0}" dt="2023-09-27T14:12:41.499" v="2223" actId="14100"/>
          <ac:spMkLst>
            <pc:docMk/>
            <pc:sldMk cId="632928928" sldId="2147474142"/>
            <ac:spMk id="2" creationId="{44888472-8168-A015-E79F-F47BE2C1981E}"/>
          </ac:spMkLst>
        </pc:spChg>
        <pc:spChg chg="mod">
          <ac:chgData name="Alexander Zap" userId="a7da462d-dcce-4fac-877b-2514b43c9eed" providerId="ADAL" clId="{779EC387-16BD-4ED8-8FF7-404756A5D4C0}" dt="2023-09-27T14:13:07.968" v="2257" actId="20577"/>
          <ac:spMkLst>
            <pc:docMk/>
            <pc:sldMk cId="632928928" sldId="2147474142"/>
            <ac:spMk id="15" creationId="{7A281FB5-DEAF-04D6-46E5-988A790AC866}"/>
          </ac:spMkLst>
        </pc:spChg>
        <pc:spChg chg="mod">
          <ac:chgData name="Alexander Zap" userId="a7da462d-dcce-4fac-877b-2514b43c9eed" providerId="ADAL" clId="{779EC387-16BD-4ED8-8FF7-404756A5D4C0}" dt="2023-09-27T14:13:14.592" v="2275" actId="20577"/>
          <ac:spMkLst>
            <pc:docMk/>
            <pc:sldMk cId="632928928" sldId="2147474142"/>
            <ac:spMk id="16" creationId="{8393EDB9-BC52-732C-7A96-E4999CE15F97}"/>
          </ac:spMkLst>
        </pc:spChg>
      </pc:sldChg>
      <pc:sldChg chg="modSp mod">
        <pc:chgData name="Alexander Zap" userId="a7da462d-dcce-4fac-877b-2514b43c9eed" providerId="ADAL" clId="{779EC387-16BD-4ED8-8FF7-404756A5D4C0}" dt="2023-09-27T14:47:17.916" v="4494" actId="1076"/>
        <pc:sldMkLst>
          <pc:docMk/>
          <pc:sldMk cId="3843930274" sldId="2147474157"/>
        </pc:sldMkLst>
        <pc:spChg chg="mod">
          <ac:chgData name="Alexander Zap" userId="a7da462d-dcce-4fac-877b-2514b43c9eed" providerId="ADAL" clId="{779EC387-16BD-4ED8-8FF7-404756A5D4C0}" dt="2023-09-27T14:19:18.633" v="3415" actId="1076"/>
          <ac:spMkLst>
            <pc:docMk/>
            <pc:sldMk cId="3843930274" sldId="2147474157"/>
            <ac:spMk id="9" creationId="{B36729E3-691C-9E06-2000-E36C12804FA6}"/>
          </ac:spMkLst>
        </pc:spChg>
        <pc:spChg chg="mod">
          <ac:chgData name="Alexander Zap" userId="a7da462d-dcce-4fac-877b-2514b43c9eed" providerId="ADAL" clId="{779EC387-16BD-4ED8-8FF7-404756A5D4C0}" dt="2023-09-27T14:13:28.912" v="2331" actId="20577"/>
          <ac:spMkLst>
            <pc:docMk/>
            <pc:sldMk cId="3843930274" sldId="2147474157"/>
            <ac:spMk id="15" creationId="{7A281FB5-DEAF-04D6-46E5-988A790AC866}"/>
          </ac:spMkLst>
        </pc:spChg>
        <pc:spChg chg="mod">
          <ac:chgData name="Alexander Zap" userId="a7da462d-dcce-4fac-877b-2514b43c9eed" providerId="ADAL" clId="{779EC387-16BD-4ED8-8FF7-404756A5D4C0}" dt="2023-09-27T14:13:36.021" v="2353" actId="20577"/>
          <ac:spMkLst>
            <pc:docMk/>
            <pc:sldMk cId="3843930274" sldId="2147474157"/>
            <ac:spMk id="16" creationId="{8393EDB9-BC52-732C-7A96-E4999CE15F97}"/>
          </ac:spMkLst>
        </pc:spChg>
        <pc:picChg chg="mod">
          <ac:chgData name="Alexander Zap" userId="a7da462d-dcce-4fac-877b-2514b43c9eed" providerId="ADAL" clId="{779EC387-16BD-4ED8-8FF7-404756A5D4C0}" dt="2023-09-27T14:47:17.916" v="4494" actId="1076"/>
          <ac:picMkLst>
            <pc:docMk/>
            <pc:sldMk cId="3843930274" sldId="2147474157"/>
            <ac:picMk id="6" creationId="{848598F5-1E17-BBF2-DC30-5E874436960F}"/>
          </ac:picMkLst>
        </pc:picChg>
      </pc:sldChg>
      <pc:sldChg chg="modSp mod ord">
        <pc:chgData name="Alexander Zap" userId="a7da462d-dcce-4fac-877b-2514b43c9eed" providerId="ADAL" clId="{779EC387-16BD-4ED8-8FF7-404756A5D4C0}" dt="2023-09-27T14:19:50.932" v="3467"/>
        <pc:sldMkLst>
          <pc:docMk/>
          <pc:sldMk cId="2602519265" sldId="2147474158"/>
        </pc:sldMkLst>
        <pc:spChg chg="mod">
          <ac:chgData name="Alexander Zap" userId="a7da462d-dcce-4fac-877b-2514b43c9eed" providerId="ADAL" clId="{779EC387-16BD-4ED8-8FF7-404756A5D4C0}" dt="2023-09-27T14:19:24.647" v="3416"/>
          <ac:spMkLst>
            <pc:docMk/>
            <pc:sldMk cId="2602519265" sldId="2147474158"/>
            <ac:spMk id="11" creationId="{BEC6A96B-F3CF-B9AF-5711-92FE0C77F037}"/>
          </ac:spMkLst>
        </pc:spChg>
        <pc:spChg chg="mod">
          <ac:chgData name="Alexander Zap" userId="a7da462d-dcce-4fac-877b-2514b43c9eed" providerId="ADAL" clId="{779EC387-16BD-4ED8-8FF7-404756A5D4C0}" dt="2023-09-27T14:19:36.793" v="3443" actId="20577"/>
          <ac:spMkLst>
            <pc:docMk/>
            <pc:sldMk cId="2602519265" sldId="2147474158"/>
            <ac:spMk id="15" creationId="{7A281FB5-DEAF-04D6-46E5-988A790AC866}"/>
          </ac:spMkLst>
        </pc:spChg>
        <pc:spChg chg="mod">
          <ac:chgData name="Alexander Zap" userId="a7da462d-dcce-4fac-877b-2514b43c9eed" providerId="ADAL" clId="{779EC387-16BD-4ED8-8FF7-404756A5D4C0}" dt="2023-09-27T14:19:45.089" v="3465" actId="20577"/>
          <ac:spMkLst>
            <pc:docMk/>
            <pc:sldMk cId="2602519265" sldId="2147474158"/>
            <ac:spMk id="16" creationId="{8393EDB9-BC52-732C-7A96-E4999CE15F97}"/>
          </ac:spMkLst>
        </pc:spChg>
      </pc:sldChg>
      <pc:sldChg chg="modSp mod">
        <pc:chgData name="Alexander Zap" userId="a7da462d-dcce-4fac-877b-2514b43c9eed" providerId="ADAL" clId="{779EC387-16BD-4ED8-8FF7-404756A5D4C0}" dt="2023-09-27T14:21:27.940" v="3503" actId="20577"/>
        <pc:sldMkLst>
          <pc:docMk/>
          <pc:sldMk cId="3919079601" sldId="2147474160"/>
        </pc:sldMkLst>
        <pc:spChg chg="mod">
          <ac:chgData name="Alexander Zap" userId="a7da462d-dcce-4fac-877b-2514b43c9eed" providerId="ADAL" clId="{779EC387-16BD-4ED8-8FF7-404756A5D4C0}" dt="2023-09-27T09:19:43.907" v="122" actId="20577"/>
          <ac:spMkLst>
            <pc:docMk/>
            <pc:sldMk cId="3919079601" sldId="2147474160"/>
            <ac:spMk id="5" creationId="{84E255AE-D36E-4898-8CEF-44E7F8FA7899}"/>
          </ac:spMkLst>
        </pc:spChg>
        <pc:spChg chg="mod">
          <ac:chgData name="Alexander Zap" userId="a7da462d-dcce-4fac-877b-2514b43c9eed" providerId="ADAL" clId="{779EC387-16BD-4ED8-8FF7-404756A5D4C0}" dt="2023-09-27T14:21:27.940" v="3503" actId="20577"/>
          <ac:spMkLst>
            <pc:docMk/>
            <pc:sldMk cId="3919079601" sldId="2147474160"/>
            <ac:spMk id="14" creationId="{46B6389B-9366-44DF-8BC6-70A975EE651E}"/>
          </ac:spMkLst>
        </pc:spChg>
        <pc:spChg chg="mod">
          <ac:chgData name="Alexander Zap" userId="a7da462d-dcce-4fac-877b-2514b43c9eed" providerId="ADAL" clId="{779EC387-16BD-4ED8-8FF7-404756A5D4C0}" dt="2023-09-27T14:20:17.423" v="3479" actId="20577"/>
          <ac:spMkLst>
            <pc:docMk/>
            <pc:sldMk cId="3919079601" sldId="2147474160"/>
            <ac:spMk id="15" creationId="{0A37FB76-979B-AF0A-A1CE-A3BE3D3B6BBD}"/>
          </ac:spMkLst>
        </pc:spChg>
        <pc:spChg chg="mod">
          <ac:chgData name="Alexander Zap" userId="a7da462d-dcce-4fac-877b-2514b43c9eed" providerId="ADAL" clId="{779EC387-16BD-4ED8-8FF7-404756A5D4C0}" dt="2023-09-27T09:21:30.825" v="279" actId="20577"/>
          <ac:spMkLst>
            <pc:docMk/>
            <pc:sldMk cId="3919079601" sldId="2147474160"/>
            <ac:spMk id="20" creationId="{BA6FEA38-87CF-43CA-9E59-1479CB2A921E}"/>
          </ac:spMkLst>
        </pc:spChg>
      </pc:sldChg>
      <pc:sldChg chg="modSp mod modNotesTx">
        <pc:chgData name="Alexander Zap" userId="a7da462d-dcce-4fac-877b-2514b43c9eed" providerId="ADAL" clId="{779EC387-16BD-4ED8-8FF7-404756A5D4C0}" dt="2023-09-27T14:22:28.517" v="3638" actId="20577"/>
        <pc:sldMkLst>
          <pc:docMk/>
          <pc:sldMk cId="2162137020" sldId="2147474161"/>
        </pc:sldMkLst>
        <pc:spChg chg="mod">
          <ac:chgData name="Alexander Zap" userId="a7da462d-dcce-4fac-877b-2514b43c9eed" providerId="ADAL" clId="{779EC387-16BD-4ED8-8FF7-404756A5D4C0}" dt="2023-09-27T14:20:44.485" v="3485" actId="20577"/>
          <ac:spMkLst>
            <pc:docMk/>
            <pc:sldMk cId="2162137020" sldId="2147474161"/>
            <ac:spMk id="12" creationId="{BE880B9D-ADE5-0E63-AD57-3BC0D3D1A0A7}"/>
          </ac:spMkLst>
        </pc:spChg>
        <pc:spChg chg="mod">
          <ac:chgData name="Alexander Zap" userId="a7da462d-dcce-4fac-877b-2514b43c9eed" providerId="ADAL" clId="{779EC387-16BD-4ED8-8FF7-404756A5D4C0}" dt="2023-09-27T14:20:52.589" v="3489" actId="20577"/>
          <ac:spMkLst>
            <pc:docMk/>
            <pc:sldMk cId="2162137020" sldId="2147474161"/>
            <ac:spMk id="15" creationId="{1DA4559D-34E5-D1FD-5B1D-08C37BF57BB5}"/>
          </ac:spMkLst>
        </pc:spChg>
        <pc:spChg chg="mod">
          <ac:chgData name="Alexander Zap" userId="a7da462d-dcce-4fac-877b-2514b43c9eed" providerId="ADAL" clId="{779EC387-16BD-4ED8-8FF7-404756A5D4C0}" dt="2023-09-27T14:04:02.481" v="896" actId="20577"/>
          <ac:spMkLst>
            <pc:docMk/>
            <pc:sldMk cId="2162137020" sldId="2147474161"/>
            <ac:spMk id="18" creationId="{4779BD8B-E805-6942-BBE9-C898E5C301EE}"/>
          </ac:spMkLst>
        </pc:spChg>
        <pc:spChg chg="mod">
          <ac:chgData name="Alexander Zap" userId="a7da462d-dcce-4fac-877b-2514b43c9eed" providerId="ADAL" clId="{779EC387-16BD-4ED8-8FF7-404756A5D4C0}" dt="2023-09-27T09:24:37.602" v="371" actId="14100"/>
          <ac:spMkLst>
            <pc:docMk/>
            <pc:sldMk cId="2162137020" sldId="2147474161"/>
            <ac:spMk id="26" creationId="{A3D84D96-F4AC-B906-3AFE-0EF4965DBF4B}"/>
          </ac:spMkLst>
        </pc:spChg>
      </pc:sldChg>
      <pc:sldChg chg="modSp mod">
        <pc:chgData name="Alexander Zap" userId="a7da462d-dcce-4fac-877b-2514b43c9eed" providerId="ADAL" clId="{779EC387-16BD-4ED8-8FF7-404756A5D4C0}" dt="2023-09-27T14:52:52.506" v="4533" actId="6549"/>
        <pc:sldMkLst>
          <pc:docMk/>
          <pc:sldMk cId="3496939702" sldId="2147474187"/>
        </pc:sldMkLst>
        <pc:spChg chg="mod">
          <ac:chgData name="Alexander Zap" userId="a7da462d-dcce-4fac-877b-2514b43c9eed" providerId="ADAL" clId="{779EC387-16BD-4ED8-8FF7-404756A5D4C0}" dt="2023-09-27T14:51:11.285" v="4515" actId="20577"/>
          <ac:spMkLst>
            <pc:docMk/>
            <pc:sldMk cId="3496939702" sldId="2147474187"/>
            <ac:spMk id="5" creationId="{17E89849-5509-B602-2504-D5CACB3F4A62}"/>
          </ac:spMkLst>
        </pc:spChg>
        <pc:spChg chg="mod">
          <ac:chgData name="Alexander Zap" userId="a7da462d-dcce-4fac-877b-2514b43c9eed" providerId="ADAL" clId="{779EC387-16BD-4ED8-8FF7-404756A5D4C0}" dt="2023-09-27T14:52:52.506" v="4533" actId="6549"/>
          <ac:spMkLst>
            <pc:docMk/>
            <pc:sldMk cId="3496939702" sldId="2147474187"/>
            <ac:spMk id="13" creationId="{89DD1218-B9A3-605C-D4DC-9E772CB11CC3}"/>
          </ac:spMkLst>
        </pc:spChg>
      </pc:sldChg>
      <pc:sldChg chg="modSp mod">
        <pc:chgData name="Alexander Zap" userId="a7da462d-dcce-4fac-877b-2514b43c9eed" providerId="ADAL" clId="{779EC387-16BD-4ED8-8FF7-404756A5D4C0}" dt="2023-09-27T14:19:03.113" v="3411" actId="20577"/>
        <pc:sldMkLst>
          <pc:docMk/>
          <pc:sldMk cId="3401788778" sldId="2147474188"/>
        </pc:sldMkLst>
        <pc:spChg chg="mod">
          <ac:chgData name="Alexander Zap" userId="a7da462d-dcce-4fac-877b-2514b43c9eed" providerId="ADAL" clId="{779EC387-16BD-4ED8-8FF7-404756A5D4C0}" dt="2023-09-27T14:19:03.113" v="3411" actId="20577"/>
          <ac:spMkLst>
            <pc:docMk/>
            <pc:sldMk cId="3401788778" sldId="2147474188"/>
            <ac:spMk id="10" creationId="{B2205A16-7300-7BA6-6060-BA144D832562}"/>
          </ac:spMkLst>
        </pc:spChg>
        <pc:spChg chg="mod">
          <ac:chgData name="Alexander Zap" userId="a7da462d-dcce-4fac-877b-2514b43c9eed" providerId="ADAL" clId="{779EC387-16BD-4ED8-8FF7-404756A5D4C0}" dt="2023-09-27T14:18:19.084" v="3266" actId="14100"/>
          <ac:spMkLst>
            <pc:docMk/>
            <pc:sldMk cId="3401788778" sldId="2147474188"/>
            <ac:spMk id="14" creationId="{99CE012F-44A4-51C5-7E27-D5FFDDB580FE}"/>
          </ac:spMkLst>
        </pc:spChg>
        <pc:spChg chg="mod">
          <ac:chgData name="Alexander Zap" userId="a7da462d-dcce-4fac-877b-2514b43c9eed" providerId="ADAL" clId="{779EC387-16BD-4ED8-8FF7-404756A5D4C0}" dt="2023-09-27T14:16:24.051" v="2916" actId="20577"/>
          <ac:spMkLst>
            <pc:docMk/>
            <pc:sldMk cId="3401788778" sldId="2147474188"/>
            <ac:spMk id="20" creationId="{D6387E42-3F83-96D7-9C55-6C844C302699}"/>
          </ac:spMkLst>
        </pc:spChg>
        <pc:spChg chg="mod">
          <ac:chgData name="Alexander Zap" userId="a7da462d-dcce-4fac-877b-2514b43c9eed" providerId="ADAL" clId="{779EC387-16BD-4ED8-8FF7-404756A5D4C0}" dt="2023-09-27T14:16:12.578" v="2874" actId="20577"/>
          <ac:spMkLst>
            <pc:docMk/>
            <pc:sldMk cId="3401788778" sldId="2147474188"/>
            <ac:spMk id="35" creationId="{7C24B164-EC28-4790-81EA-9EC34B379364}"/>
          </ac:spMkLst>
        </pc:spChg>
      </pc:sldChg>
      <pc:sldChg chg="modSp mod">
        <pc:chgData name="Alexander Zap" userId="a7da462d-dcce-4fac-877b-2514b43c9eed" providerId="ADAL" clId="{779EC387-16BD-4ED8-8FF7-404756A5D4C0}" dt="2023-09-27T14:22:46.602" v="3678" actId="20577"/>
        <pc:sldMkLst>
          <pc:docMk/>
          <pc:sldMk cId="4249148132" sldId="2147474190"/>
        </pc:sldMkLst>
        <pc:spChg chg="mod">
          <ac:chgData name="Alexander Zap" userId="a7da462d-dcce-4fac-877b-2514b43c9eed" providerId="ADAL" clId="{779EC387-16BD-4ED8-8FF7-404756A5D4C0}" dt="2023-09-27T14:22:46.602" v="3678" actId="20577"/>
          <ac:spMkLst>
            <pc:docMk/>
            <pc:sldMk cId="4249148132" sldId="2147474190"/>
            <ac:spMk id="20" creationId="{D6387E42-3F83-96D7-9C55-6C844C302699}"/>
          </ac:spMkLst>
        </pc:spChg>
      </pc:sldChg>
      <pc:sldChg chg="modSp mod">
        <pc:chgData name="Alexander Zap" userId="a7da462d-dcce-4fac-877b-2514b43c9eed" providerId="ADAL" clId="{779EC387-16BD-4ED8-8FF7-404756A5D4C0}" dt="2023-09-27T14:56:33.038" v="4557" actId="6549"/>
        <pc:sldMkLst>
          <pc:docMk/>
          <pc:sldMk cId="3923792626" sldId="2147474202"/>
        </pc:sldMkLst>
        <pc:spChg chg="mod">
          <ac:chgData name="Alexander Zap" userId="a7da462d-dcce-4fac-877b-2514b43c9eed" providerId="ADAL" clId="{779EC387-16BD-4ED8-8FF7-404756A5D4C0}" dt="2023-09-27T14:56:33.038" v="4557" actId="6549"/>
          <ac:spMkLst>
            <pc:docMk/>
            <pc:sldMk cId="3923792626" sldId="2147474202"/>
            <ac:spMk id="44" creationId="{945A7409-EB81-C49A-47D2-6F3E0A2FB07D}"/>
          </ac:spMkLst>
        </pc:spChg>
      </pc:sldChg>
      <pc:sldChg chg="add del setBg">
        <pc:chgData name="Alexander Zap" userId="a7da462d-dcce-4fac-877b-2514b43c9eed" providerId="ADAL" clId="{779EC387-16BD-4ED8-8FF7-404756A5D4C0}" dt="2023-09-28T10:21:50.279" v="4559" actId="2696"/>
        <pc:sldMkLst>
          <pc:docMk/>
          <pc:sldMk cId="2279140852" sldId="2147474203"/>
        </pc:sldMkLst>
      </pc:sldChg>
      <pc:sldChg chg="modSp add mod">
        <pc:chgData name="Alexander Zap" userId="a7da462d-dcce-4fac-877b-2514b43c9eed" providerId="ADAL" clId="{779EC387-16BD-4ED8-8FF7-404756A5D4C0}" dt="2023-09-28T10:23:39.122" v="4618" actId="20577"/>
        <pc:sldMkLst>
          <pc:docMk/>
          <pc:sldMk cId="3383596191" sldId="2147474203"/>
        </pc:sldMkLst>
        <pc:spChg chg="mod">
          <ac:chgData name="Alexander Zap" userId="a7da462d-dcce-4fac-877b-2514b43c9eed" providerId="ADAL" clId="{779EC387-16BD-4ED8-8FF7-404756A5D4C0}" dt="2023-09-28T10:22:22.101" v="4569" actId="20577"/>
          <ac:spMkLst>
            <pc:docMk/>
            <pc:sldMk cId="3383596191" sldId="2147474203"/>
            <ac:spMk id="36" creationId="{35CE9583-3929-7421-EDAB-54A72258867C}"/>
          </ac:spMkLst>
        </pc:spChg>
        <pc:grpChg chg="mod">
          <ac:chgData name="Alexander Zap" userId="a7da462d-dcce-4fac-877b-2514b43c9eed" providerId="ADAL" clId="{779EC387-16BD-4ED8-8FF7-404756A5D4C0}" dt="2023-09-28T10:22:16.062" v="4566" actId="14100"/>
          <ac:grpSpMkLst>
            <pc:docMk/>
            <pc:sldMk cId="3383596191" sldId="2147474203"/>
            <ac:grpSpMk id="35" creationId="{7DD8FF2C-F428-D99A-3BD1-1414815D52C8}"/>
          </ac:grpSpMkLst>
        </pc:grpChg>
        <pc:graphicFrameChg chg="modGraphic">
          <ac:chgData name="Alexander Zap" userId="a7da462d-dcce-4fac-877b-2514b43c9eed" providerId="ADAL" clId="{779EC387-16BD-4ED8-8FF7-404756A5D4C0}" dt="2023-09-28T10:23:39.122" v="4618" actId="20577"/>
          <ac:graphicFrameMkLst>
            <pc:docMk/>
            <pc:sldMk cId="3383596191" sldId="2147474203"/>
            <ac:graphicFrameMk id="34" creationId="{21F6C9A1-9B23-B47B-207A-5368BE5292A6}"/>
          </ac:graphicFrameMkLst>
        </pc:graphicFrameChg>
      </pc:sldChg>
    </pc:docChg>
  </pc:docChgLst>
  <pc:docChgLst>
    <pc:chgData name="Dr. Yannik Bauer" userId="S::yannik.bauer@alexanderthamm.com::63c526f0-fb0a-4d63-9994-040861300752" providerId="AD" clId="Web-{2A38DE45-B3DC-9718-01B0-186A42C29555}"/>
    <pc:docChg chg="modSld">
      <pc:chgData name="Dr. Yannik Bauer" userId="S::yannik.bauer@alexanderthamm.com::63c526f0-fb0a-4d63-9994-040861300752" providerId="AD" clId="Web-{2A38DE45-B3DC-9718-01B0-186A42C29555}" dt="2023-09-29T13:32:01.606" v="3" actId="20577"/>
      <pc:docMkLst>
        <pc:docMk/>
      </pc:docMkLst>
      <pc:sldChg chg="modSp">
        <pc:chgData name="Dr. Yannik Bauer" userId="S::yannik.bauer@alexanderthamm.com::63c526f0-fb0a-4d63-9994-040861300752" providerId="AD" clId="Web-{2A38DE45-B3DC-9718-01B0-186A42C29555}" dt="2023-09-29T13:31:19.292" v="0" actId="20577"/>
        <pc:sldMkLst>
          <pc:docMk/>
          <pc:sldMk cId="2286070468" sldId="2147380547"/>
        </pc:sldMkLst>
        <pc:spChg chg="mod">
          <ac:chgData name="Dr. Yannik Bauer" userId="S::yannik.bauer@alexanderthamm.com::63c526f0-fb0a-4d63-9994-040861300752" providerId="AD" clId="Web-{2A38DE45-B3DC-9718-01B0-186A42C29555}" dt="2023-09-29T13:31:19.292" v="0" actId="20577"/>
          <ac:spMkLst>
            <pc:docMk/>
            <pc:sldMk cId="2286070468" sldId="2147380547"/>
            <ac:spMk id="45" creationId="{EFC187B1-698F-0751-EF7B-64487245157A}"/>
          </ac:spMkLst>
        </pc:spChg>
      </pc:sldChg>
      <pc:sldChg chg="modSp">
        <pc:chgData name="Dr. Yannik Bauer" userId="S::yannik.bauer@alexanderthamm.com::63c526f0-fb0a-4d63-9994-040861300752" providerId="AD" clId="Web-{2A38DE45-B3DC-9718-01B0-186A42C29555}" dt="2023-09-29T13:32:01.606" v="3" actId="20577"/>
        <pc:sldMkLst>
          <pc:docMk/>
          <pc:sldMk cId="230114688" sldId="2147380604"/>
        </pc:sldMkLst>
        <pc:spChg chg="mod">
          <ac:chgData name="Dr. Yannik Bauer" userId="S::yannik.bauer@alexanderthamm.com::63c526f0-fb0a-4d63-9994-040861300752" providerId="AD" clId="Web-{2A38DE45-B3DC-9718-01B0-186A42C29555}" dt="2023-09-29T13:32:01.606" v="3" actId="20577"/>
          <ac:spMkLst>
            <pc:docMk/>
            <pc:sldMk cId="230114688" sldId="2147380604"/>
            <ac:spMk id="27" creationId="{1226B301-BA4A-BDC3-D5FD-9460FB747529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Kopfzeilenplatzhalter 1">
            <a:extLst>
              <a:ext uri="{FF2B5EF4-FFF2-40B4-BE49-F238E27FC236}">
                <a16:creationId xmlns:a16="http://schemas.microsoft.com/office/drawing/2014/main" id="{4D407EA3-7A58-46E3-BE00-BC571918CAA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935000" y="431999"/>
            <a:ext cx="2988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/>
            </a:lvl1pPr>
          </a:lstStyle>
          <a:p>
            <a:pPr algn="ctr"/>
            <a:endParaRPr lang="de-DE" sz="800"/>
          </a:p>
        </p:txBody>
      </p:sp>
      <p:sp>
        <p:nvSpPr>
          <p:cNvPr id="7" name="Datumsplatzhalter 2">
            <a:extLst>
              <a:ext uri="{FF2B5EF4-FFF2-40B4-BE49-F238E27FC236}">
                <a16:creationId xmlns:a16="http://schemas.microsoft.com/office/drawing/2014/main" id="{E0BDAB28-C9AB-4B9B-9DC3-3B8FB8FAD65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89155" y="8568000"/>
            <a:ext cx="1080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/>
            </a:lvl1pPr>
          </a:lstStyle>
          <a:p>
            <a:pPr algn="l"/>
            <a:fld id="{5C0136BD-F462-4607-ABA7-62EC4104CF8F}" type="datetimeFigureOut">
              <a:rPr lang="de-DE" sz="800"/>
              <a:pPr algn="l"/>
              <a:t>10.10.2023</a:t>
            </a:fld>
            <a:endParaRPr lang="de-DE" sz="800"/>
          </a:p>
        </p:txBody>
      </p:sp>
      <p:sp>
        <p:nvSpPr>
          <p:cNvPr id="8" name="Fußzeilenplatzhalter 5">
            <a:extLst>
              <a:ext uri="{FF2B5EF4-FFF2-40B4-BE49-F238E27FC236}">
                <a16:creationId xmlns:a16="http://schemas.microsoft.com/office/drawing/2014/main" id="{19A86775-87E6-4725-AAC9-7FF2D22F9D6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935000" y="8568000"/>
            <a:ext cx="2988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/>
            </a:lvl1pPr>
          </a:lstStyle>
          <a:p>
            <a:endParaRPr lang="de-DE" sz="800"/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0CEEAA94-9608-40A4-A5AF-E99FD0A4323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828581" y="8568000"/>
            <a:ext cx="540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/>
            </a:lvl1pPr>
          </a:lstStyle>
          <a:p>
            <a:fld id="{95B01EAF-F0E5-4440-9A42-83F4BE432943}" type="slidenum">
              <a:rPr lang="de-DE" sz="800"/>
              <a:pPr/>
              <a:t>‹Nr.›</a:t>
            </a:fld>
            <a:endParaRPr lang="de-DE" sz="800"/>
          </a:p>
        </p:txBody>
      </p:sp>
    </p:spTree>
    <p:extLst>
      <p:ext uri="{BB962C8B-B14F-4D97-AF65-F5344CB8AC3E}">
        <p14:creationId xmlns:p14="http://schemas.microsoft.com/office/powerpoint/2010/main" val="33431029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935000" y="431999"/>
            <a:ext cx="2988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/>
            </a:lvl1pPr>
          </a:lstStyle>
          <a:p>
            <a:endParaRPr lang="de-DE" sz="80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685800" y="8568000"/>
            <a:ext cx="1080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/>
            </a:lvl1pPr>
          </a:lstStyle>
          <a:p>
            <a:fld id="{5C0136BD-F462-4607-ABA7-62EC4104CF8F}" type="datetimeFigureOut">
              <a:rPr lang="de-DE"/>
              <a:pPr/>
              <a:t>10.10.2023</a:t>
            </a:fld>
            <a:endParaRPr lang="de-DE" sz="80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935000" y="8568000"/>
            <a:ext cx="2988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/>
            </a:lvl1pPr>
          </a:lstStyle>
          <a:p>
            <a:endParaRPr lang="de-DE" sz="80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32200" y="8568000"/>
            <a:ext cx="540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/>
            </a:lvl1pPr>
          </a:lstStyle>
          <a:p>
            <a:fld id="{95B01EAF-F0E5-4440-9A42-83F4BE432943}" type="slidenum">
              <a:rPr lang="de-DE"/>
              <a:pPr/>
              <a:t>‹Nr.›</a:t>
            </a:fld>
            <a:endParaRPr lang="de-DE" sz="800"/>
          </a:p>
        </p:txBody>
      </p:sp>
    </p:spTree>
    <p:extLst>
      <p:ext uri="{BB962C8B-B14F-4D97-AF65-F5344CB8AC3E}">
        <p14:creationId xmlns:p14="http://schemas.microsoft.com/office/powerpoint/2010/main" val="42025341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10000"/>
      </a:lnSpc>
      <a:spcAft>
        <a:spcPts val="200"/>
      </a:spcAft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80000" algn="l" defTabSz="914400" rtl="0" eaLnBrk="1" latinLnBrk="0" hangingPunct="1">
      <a:lnSpc>
        <a:spcPct val="110000"/>
      </a:lnSpc>
      <a:spcAft>
        <a:spcPts val="200"/>
      </a:spcAft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algn="l" defTabSz="914400" rtl="0" eaLnBrk="1" latinLnBrk="0" hangingPunct="1">
      <a:lnSpc>
        <a:spcPct val="110000"/>
      </a:lnSpc>
      <a:spcAft>
        <a:spcPts val="200"/>
      </a:spcAft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40000" algn="l" defTabSz="914400" rtl="0" eaLnBrk="1" latinLnBrk="0" hangingPunct="1">
      <a:lnSpc>
        <a:spcPct val="110000"/>
      </a:lnSpc>
      <a:spcAft>
        <a:spcPts val="200"/>
      </a:spcAft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algn="l" defTabSz="914400" rtl="0" eaLnBrk="1" latinLnBrk="0" hangingPunct="1">
      <a:lnSpc>
        <a:spcPct val="110000"/>
      </a:lnSpc>
      <a:spcAft>
        <a:spcPts val="200"/>
      </a:spcAft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B01EAF-F0E5-4440-9A42-83F4BE432943}" type="slidenum">
              <a:rPr lang="de-DE" smtClean="0"/>
              <a:pPr/>
              <a:t>1</a:t>
            </a:fld>
            <a:endParaRPr lang="de-DE" sz="800"/>
          </a:p>
        </p:txBody>
      </p:sp>
    </p:spTree>
    <p:extLst>
      <p:ext uri="{BB962C8B-B14F-4D97-AF65-F5344CB8AC3E}">
        <p14:creationId xmlns:p14="http://schemas.microsoft.com/office/powerpoint/2010/main" val="40208571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B01EAF-F0E5-4440-9A42-83F4BE432943}" type="slidenum">
              <a:rPr lang="de-DE" smtClean="0"/>
              <a:pPr/>
              <a:t>8</a:t>
            </a:fld>
            <a:endParaRPr lang="de-DE" sz="800"/>
          </a:p>
        </p:txBody>
      </p:sp>
    </p:spTree>
    <p:extLst>
      <p:ext uri="{BB962C8B-B14F-4D97-AF65-F5344CB8AC3E}">
        <p14:creationId xmlns:p14="http://schemas.microsoft.com/office/powerpoint/2010/main" val="16888284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B01EAF-F0E5-4440-9A42-83F4BE432943}" type="slidenum">
              <a:rPr lang="de-DE" smtClean="0"/>
              <a:pPr/>
              <a:t>20</a:t>
            </a:fld>
            <a:endParaRPr lang="de-DE" sz="800"/>
          </a:p>
        </p:txBody>
      </p:sp>
    </p:spTree>
    <p:extLst>
      <p:ext uri="{BB962C8B-B14F-4D97-AF65-F5344CB8AC3E}">
        <p14:creationId xmlns:p14="http://schemas.microsoft.com/office/powerpoint/2010/main" val="1219936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G Orange rechts">
            <a:extLst>
              <a:ext uri="{FF2B5EF4-FFF2-40B4-BE49-F238E27FC236}">
                <a16:creationId xmlns:a16="http://schemas.microsoft.com/office/drawing/2014/main" id="{2178F5BE-A66A-4A57-9ACC-51643F2A8AA0}"/>
              </a:ext>
            </a:extLst>
          </p:cNvPr>
          <p:cNvSpPr/>
          <p:nvPr userDrawn="1"/>
        </p:nvSpPr>
        <p:spPr>
          <a:xfrm>
            <a:off x="11728765" y="147089"/>
            <a:ext cx="210084" cy="5198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110000"/>
              </a:lnSpc>
              <a:spcAft>
                <a:spcPts val="200"/>
              </a:spcAft>
            </a:pPr>
            <a:endParaRPr lang="de-DE" sz="1400"/>
          </a:p>
        </p:txBody>
      </p:sp>
      <p:sp>
        <p:nvSpPr>
          <p:cNvPr id="11" name="HG Orange links">
            <a:extLst>
              <a:ext uri="{FF2B5EF4-FFF2-40B4-BE49-F238E27FC236}">
                <a16:creationId xmlns:a16="http://schemas.microsoft.com/office/drawing/2014/main" id="{DB5E03F9-B7A8-4013-A485-FAEB09627402}"/>
              </a:ext>
            </a:extLst>
          </p:cNvPr>
          <p:cNvSpPr/>
          <p:nvPr userDrawn="1"/>
        </p:nvSpPr>
        <p:spPr>
          <a:xfrm>
            <a:off x="10927533" y="147089"/>
            <a:ext cx="210084" cy="5198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110000"/>
              </a:lnSpc>
              <a:spcAft>
                <a:spcPts val="200"/>
              </a:spcAft>
            </a:pPr>
            <a:endParaRPr lang="de-DE" sz="1400"/>
          </a:p>
        </p:txBody>
      </p:sp>
      <p:sp>
        <p:nvSpPr>
          <p:cNvPr id="12" name="Bildplatzhalter">
            <a:extLst>
              <a:ext uri="{FF2B5EF4-FFF2-40B4-BE49-F238E27FC236}">
                <a16:creationId xmlns:a16="http://schemas.microsoft.com/office/drawing/2014/main" id="{807EF832-AF35-4D62-9000-E25D1C30F2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665610 w 12192000"/>
              <a:gd name="connsiteY0" fmla="*/ 772625 h 6858000"/>
              <a:gd name="connsiteX1" fmla="*/ 11665610 w 12192000"/>
              <a:gd name="connsiteY1" fmla="*/ 783465 h 6858000"/>
              <a:gd name="connsiteX2" fmla="*/ 11658822 w 12192000"/>
              <a:gd name="connsiteY2" fmla="*/ 788721 h 6858000"/>
              <a:gd name="connsiteX3" fmla="*/ 11650573 w 12192000"/>
              <a:gd name="connsiteY3" fmla="*/ 790436 h 6858000"/>
              <a:gd name="connsiteX4" fmla="*/ 11644259 w 12192000"/>
              <a:gd name="connsiteY4" fmla="*/ 788684 h 6858000"/>
              <a:gd name="connsiteX5" fmla="*/ 11641850 w 12192000"/>
              <a:gd name="connsiteY5" fmla="*/ 782845 h 6858000"/>
              <a:gd name="connsiteX6" fmla="*/ 11643054 w 12192000"/>
              <a:gd name="connsiteY6" fmla="*/ 779012 h 6858000"/>
              <a:gd name="connsiteX7" fmla="*/ 11646996 w 12192000"/>
              <a:gd name="connsiteY7" fmla="*/ 775946 h 6858000"/>
              <a:gd name="connsiteX8" fmla="*/ 11654332 w 12192000"/>
              <a:gd name="connsiteY8" fmla="*/ 773793 h 6858000"/>
              <a:gd name="connsiteX9" fmla="*/ 11665610 w 12192000"/>
              <a:gd name="connsiteY9" fmla="*/ 772625 h 6858000"/>
              <a:gd name="connsiteX10" fmla="*/ 11244271 w 12192000"/>
              <a:gd name="connsiteY10" fmla="*/ 769924 h 6858000"/>
              <a:gd name="connsiteX11" fmla="*/ 11244308 w 12192000"/>
              <a:gd name="connsiteY11" fmla="*/ 769924 h 6858000"/>
              <a:gd name="connsiteX12" fmla="*/ 11244308 w 12192000"/>
              <a:gd name="connsiteY12" fmla="*/ 786276 h 6858000"/>
              <a:gd name="connsiteX13" fmla="*/ 11239855 w 12192000"/>
              <a:gd name="connsiteY13" fmla="*/ 790473 h 6858000"/>
              <a:gd name="connsiteX14" fmla="*/ 11235001 w 12192000"/>
              <a:gd name="connsiteY14" fmla="*/ 793831 h 6858000"/>
              <a:gd name="connsiteX15" fmla="*/ 11229344 w 12192000"/>
              <a:gd name="connsiteY15" fmla="*/ 796021 h 6858000"/>
              <a:gd name="connsiteX16" fmla="*/ 11222664 w 12192000"/>
              <a:gd name="connsiteY16" fmla="*/ 796787 h 6858000"/>
              <a:gd name="connsiteX17" fmla="*/ 11217956 w 12192000"/>
              <a:gd name="connsiteY17" fmla="*/ 796094 h 6858000"/>
              <a:gd name="connsiteX18" fmla="*/ 11213978 w 12192000"/>
              <a:gd name="connsiteY18" fmla="*/ 793940 h 6858000"/>
              <a:gd name="connsiteX19" fmla="*/ 11211204 w 12192000"/>
              <a:gd name="connsiteY19" fmla="*/ 790181 h 6858000"/>
              <a:gd name="connsiteX20" fmla="*/ 11210182 w 12192000"/>
              <a:gd name="connsiteY20" fmla="*/ 784743 h 6858000"/>
              <a:gd name="connsiteX21" fmla="*/ 11212189 w 12192000"/>
              <a:gd name="connsiteY21" fmla="*/ 778830 h 6858000"/>
              <a:gd name="connsiteX22" fmla="*/ 11218357 w 12192000"/>
              <a:gd name="connsiteY22" fmla="*/ 774341 h 6858000"/>
              <a:gd name="connsiteX23" fmla="*/ 11228942 w 12192000"/>
              <a:gd name="connsiteY23" fmla="*/ 771348 h 6858000"/>
              <a:gd name="connsiteX24" fmla="*/ 11244271 w 12192000"/>
              <a:gd name="connsiteY24" fmla="*/ 769924 h 6858000"/>
              <a:gd name="connsiteX25" fmla="*/ 11032215 w 12192000"/>
              <a:gd name="connsiteY25" fmla="*/ 769924 h 6858000"/>
              <a:gd name="connsiteX26" fmla="*/ 11032251 w 12192000"/>
              <a:gd name="connsiteY26" fmla="*/ 769924 h 6858000"/>
              <a:gd name="connsiteX27" fmla="*/ 11032251 w 12192000"/>
              <a:gd name="connsiteY27" fmla="*/ 786276 h 6858000"/>
              <a:gd name="connsiteX28" fmla="*/ 11027799 w 12192000"/>
              <a:gd name="connsiteY28" fmla="*/ 790473 h 6858000"/>
              <a:gd name="connsiteX29" fmla="*/ 11022944 w 12192000"/>
              <a:gd name="connsiteY29" fmla="*/ 793831 h 6858000"/>
              <a:gd name="connsiteX30" fmla="*/ 11017287 w 12192000"/>
              <a:gd name="connsiteY30" fmla="*/ 796021 h 6858000"/>
              <a:gd name="connsiteX31" fmla="*/ 11010608 w 12192000"/>
              <a:gd name="connsiteY31" fmla="*/ 796787 h 6858000"/>
              <a:gd name="connsiteX32" fmla="*/ 11005899 w 12192000"/>
              <a:gd name="connsiteY32" fmla="*/ 796094 h 6858000"/>
              <a:gd name="connsiteX33" fmla="*/ 11001921 w 12192000"/>
              <a:gd name="connsiteY33" fmla="*/ 793940 h 6858000"/>
              <a:gd name="connsiteX34" fmla="*/ 10999147 w 12192000"/>
              <a:gd name="connsiteY34" fmla="*/ 790181 h 6858000"/>
              <a:gd name="connsiteX35" fmla="*/ 10998125 w 12192000"/>
              <a:gd name="connsiteY35" fmla="*/ 784743 h 6858000"/>
              <a:gd name="connsiteX36" fmla="*/ 11000133 w 12192000"/>
              <a:gd name="connsiteY36" fmla="*/ 778830 h 6858000"/>
              <a:gd name="connsiteX37" fmla="*/ 11006301 w 12192000"/>
              <a:gd name="connsiteY37" fmla="*/ 774341 h 6858000"/>
              <a:gd name="connsiteX38" fmla="*/ 11016886 w 12192000"/>
              <a:gd name="connsiteY38" fmla="*/ 771348 h 6858000"/>
              <a:gd name="connsiteX39" fmla="*/ 11032215 w 12192000"/>
              <a:gd name="connsiteY39" fmla="*/ 769924 h 6858000"/>
              <a:gd name="connsiteX40" fmla="*/ 11363804 w 12192000"/>
              <a:gd name="connsiteY40" fmla="*/ 741310 h 6858000"/>
              <a:gd name="connsiteX41" fmla="*/ 11373731 w 12192000"/>
              <a:gd name="connsiteY41" fmla="*/ 743500 h 6858000"/>
              <a:gd name="connsiteX42" fmla="*/ 11381652 w 12192000"/>
              <a:gd name="connsiteY42" fmla="*/ 751091 h 6858000"/>
              <a:gd name="connsiteX43" fmla="*/ 11381688 w 12192000"/>
              <a:gd name="connsiteY43" fmla="*/ 751091 h 6858000"/>
              <a:gd name="connsiteX44" fmla="*/ 11381688 w 12192000"/>
              <a:gd name="connsiteY44" fmla="*/ 783904 h 6858000"/>
              <a:gd name="connsiteX45" fmla="*/ 11372710 w 12192000"/>
              <a:gd name="connsiteY45" fmla="*/ 792882 h 6858000"/>
              <a:gd name="connsiteX46" fmla="*/ 11361468 w 12192000"/>
              <a:gd name="connsiteY46" fmla="*/ 796094 h 6858000"/>
              <a:gd name="connsiteX47" fmla="*/ 11346686 w 12192000"/>
              <a:gd name="connsiteY47" fmla="*/ 789524 h 6858000"/>
              <a:gd name="connsiteX48" fmla="*/ 11341576 w 12192000"/>
              <a:gd name="connsiteY48" fmla="*/ 769049 h 6858000"/>
              <a:gd name="connsiteX49" fmla="*/ 11343000 w 12192000"/>
              <a:gd name="connsiteY49" fmla="*/ 757807 h 6858000"/>
              <a:gd name="connsiteX50" fmla="*/ 11347197 w 12192000"/>
              <a:gd name="connsiteY50" fmla="*/ 749011 h 6858000"/>
              <a:gd name="connsiteX51" fmla="*/ 11354132 w 12192000"/>
              <a:gd name="connsiteY51" fmla="*/ 743317 h 6858000"/>
              <a:gd name="connsiteX52" fmla="*/ 11363804 w 12192000"/>
              <a:gd name="connsiteY52" fmla="*/ 741310 h 6858000"/>
              <a:gd name="connsiteX53" fmla="*/ 11432604 w 12192000"/>
              <a:gd name="connsiteY53" fmla="*/ 741126 h 6858000"/>
              <a:gd name="connsiteX54" fmla="*/ 11440415 w 12192000"/>
              <a:gd name="connsiteY54" fmla="*/ 742586 h 6858000"/>
              <a:gd name="connsiteX55" fmla="*/ 11446546 w 12192000"/>
              <a:gd name="connsiteY55" fmla="*/ 746820 h 6858000"/>
              <a:gd name="connsiteX56" fmla="*/ 11450525 w 12192000"/>
              <a:gd name="connsiteY56" fmla="*/ 753572 h 6858000"/>
              <a:gd name="connsiteX57" fmla="*/ 11451948 w 12192000"/>
              <a:gd name="connsiteY57" fmla="*/ 762587 h 6858000"/>
              <a:gd name="connsiteX58" fmla="*/ 11410595 w 12192000"/>
              <a:gd name="connsiteY58" fmla="*/ 762587 h 6858000"/>
              <a:gd name="connsiteX59" fmla="*/ 11412858 w 12192000"/>
              <a:gd name="connsiteY59" fmla="*/ 753755 h 6858000"/>
              <a:gd name="connsiteX60" fmla="*/ 11417347 w 12192000"/>
              <a:gd name="connsiteY60" fmla="*/ 746966 h 6858000"/>
              <a:gd name="connsiteX61" fmla="*/ 11423954 w 12192000"/>
              <a:gd name="connsiteY61" fmla="*/ 742623 h 6858000"/>
              <a:gd name="connsiteX62" fmla="*/ 11432604 w 12192000"/>
              <a:gd name="connsiteY62" fmla="*/ 741126 h 6858000"/>
              <a:gd name="connsiteX63" fmla="*/ 11110139 w 12192000"/>
              <a:gd name="connsiteY63" fmla="*/ 741126 h 6858000"/>
              <a:gd name="connsiteX64" fmla="*/ 11117950 w 12192000"/>
              <a:gd name="connsiteY64" fmla="*/ 742586 h 6858000"/>
              <a:gd name="connsiteX65" fmla="*/ 11124081 w 12192000"/>
              <a:gd name="connsiteY65" fmla="*/ 746820 h 6858000"/>
              <a:gd name="connsiteX66" fmla="*/ 11128060 w 12192000"/>
              <a:gd name="connsiteY66" fmla="*/ 753572 h 6858000"/>
              <a:gd name="connsiteX67" fmla="*/ 11129483 w 12192000"/>
              <a:gd name="connsiteY67" fmla="*/ 762587 h 6858000"/>
              <a:gd name="connsiteX68" fmla="*/ 11088130 w 12192000"/>
              <a:gd name="connsiteY68" fmla="*/ 762587 h 6858000"/>
              <a:gd name="connsiteX69" fmla="*/ 11090393 w 12192000"/>
              <a:gd name="connsiteY69" fmla="*/ 753755 h 6858000"/>
              <a:gd name="connsiteX70" fmla="*/ 11094882 w 12192000"/>
              <a:gd name="connsiteY70" fmla="*/ 746966 h 6858000"/>
              <a:gd name="connsiteX71" fmla="*/ 11101489 w 12192000"/>
              <a:gd name="connsiteY71" fmla="*/ 742623 h 6858000"/>
              <a:gd name="connsiteX72" fmla="*/ 11110139 w 12192000"/>
              <a:gd name="connsiteY72" fmla="*/ 741126 h 6858000"/>
              <a:gd name="connsiteX73" fmla="*/ 11143791 w 12192000"/>
              <a:gd name="connsiteY73" fmla="*/ 737659 h 6858000"/>
              <a:gd name="connsiteX74" fmla="*/ 11165617 w 12192000"/>
              <a:gd name="connsiteY74" fmla="*/ 768135 h 6858000"/>
              <a:gd name="connsiteX75" fmla="*/ 11142915 w 12192000"/>
              <a:gd name="connsiteY75" fmla="*/ 800072 h 6858000"/>
              <a:gd name="connsiteX76" fmla="*/ 11148317 w 12192000"/>
              <a:gd name="connsiteY76" fmla="*/ 800072 h 6858000"/>
              <a:gd name="connsiteX77" fmla="*/ 11149558 w 12192000"/>
              <a:gd name="connsiteY77" fmla="*/ 799561 h 6858000"/>
              <a:gd name="connsiteX78" fmla="*/ 11150470 w 12192000"/>
              <a:gd name="connsiteY78" fmla="*/ 798502 h 6858000"/>
              <a:gd name="connsiteX79" fmla="*/ 11168537 w 12192000"/>
              <a:gd name="connsiteY79" fmla="*/ 773026 h 6858000"/>
              <a:gd name="connsiteX80" fmla="*/ 11169486 w 12192000"/>
              <a:gd name="connsiteY80" fmla="*/ 770836 h 6858000"/>
              <a:gd name="connsiteX81" fmla="*/ 11188429 w 12192000"/>
              <a:gd name="connsiteY81" fmla="*/ 798502 h 6858000"/>
              <a:gd name="connsiteX82" fmla="*/ 11189232 w 12192000"/>
              <a:gd name="connsiteY82" fmla="*/ 799524 h 6858000"/>
              <a:gd name="connsiteX83" fmla="*/ 11190619 w 12192000"/>
              <a:gd name="connsiteY83" fmla="*/ 800072 h 6858000"/>
              <a:gd name="connsiteX84" fmla="*/ 11196312 w 12192000"/>
              <a:gd name="connsiteY84" fmla="*/ 800072 h 6858000"/>
              <a:gd name="connsiteX85" fmla="*/ 11173647 w 12192000"/>
              <a:gd name="connsiteY85" fmla="*/ 767770 h 6858000"/>
              <a:gd name="connsiteX86" fmla="*/ 11195400 w 12192000"/>
              <a:gd name="connsiteY86" fmla="*/ 737659 h 6858000"/>
              <a:gd name="connsiteX87" fmla="*/ 11189925 w 12192000"/>
              <a:gd name="connsiteY87" fmla="*/ 737659 h 6858000"/>
              <a:gd name="connsiteX88" fmla="*/ 11188794 w 12192000"/>
              <a:gd name="connsiteY88" fmla="*/ 738024 h 6858000"/>
              <a:gd name="connsiteX89" fmla="*/ 11187991 w 12192000"/>
              <a:gd name="connsiteY89" fmla="*/ 738973 h 6858000"/>
              <a:gd name="connsiteX90" fmla="*/ 11170873 w 12192000"/>
              <a:gd name="connsiteY90" fmla="*/ 763135 h 6858000"/>
              <a:gd name="connsiteX91" fmla="*/ 11170289 w 12192000"/>
              <a:gd name="connsiteY91" fmla="*/ 764266 h 6858000"/>
              <a:gd name="connsiteX92" fmla="*/ 11169887 w 12192000"/>
              <a:gd name="connsiteY92" fmla="*/ 765325 h 6858000"/>
              <a:gd name="connsiteX93" fmla="*/ 11151565 w 12192000"/>
              <a:gd name="connsiteY93" fmla="*/ 738900 h 6858000"/>
              <a:gd name="connsiteX94" fmla="*/ 11150799 w 12192000"/>
              <a:gd name="connsiteY94" fmla="*/ 738024 h 6858000"/>
              <a:gd name="connsiteX95" fmla="*/ 11149485 w 12192000"/>
              <a:gd name="connsiteY95" fmla="*/ 737659 h 6858000"/>
              <a:gd name="connsiteX96" fmla="*/ 11432494 w 12192000"/>
              <a:gd name="connsiteY96" fmla="*/ 736710 h 6858000"/>
              <a:gd name="connsiteX97" fmla="*/ 11420596 w 12192000"/>
              <a:gd name="connsiteY97" fmla="*/ 739046 h 6858000"/>
              <a:gd name="connsiteX98" fmla="*/ 11411763 w 12192000"/>
              <a:gd name="connsiteY98" fmla="*/ 745470 h 6858000"/>
              <a:gd name="connsiteX99" fmla="*/ 11406252 w 12192000"/>
              <a:gd name="connsiteY99" fmla="*/ 755251 h 6858000"/>
              <a:gd name="connsiteX100" fmla="*/ 11404354 w 12192000"/>
              <a:gd name="connsiteY100" fmla="*/ 767624 h 6858000"/>
              <a:gd name="connsiteX101" fmla="*/ 11406398 w 12192000"/>
              <a:gd name="connsiteY101" fmla="*/ 781786 h 6858000"/>
              <a:gd name="connsiteX102" fmla="*/ 11412201 w 12192000"/>
              <a:gd name="connsiteY102" fmla="*/ 792224 h 6858000"/>
              <a:gd name="connsiteX103" fmla="*/ 11421216 w 12192000"/>
              <a:gd name="connsiteY103" fmla="*/ 798721 h 6858000"/>
              <a:gd name="connsiteX104" fmla="*/ 11432896 w 12192000"/>
              <a:gd name="connsiteY104" fmla="*/ 800947 h 6858000"/>
              <a:gd name="connsiteX105" fmla="*/ 11439904 w 12192000"/>
              <a:gd name="connsiteY105" fmla="*/ 800254 h 6858000"/>
              <a:gd name="connsiteX106" fmla="*/ 11446437 w 12192000"/>
              <a:gd name="connsiteY106" fmla="*/ 798393 h 6858000"/>
              <a:gd name="connsiteX107" fmla="*/ 11451948 w 12192000"/>
              <a:gd name="connsiteY107" fmla="*/ 795619 h 6858000"/>
              <a:gd name="connsiteX108" fmla="*/ 11455926 w 12192000"/>
              <a:gd name="connsiteY108" fmla="*/ 792115 h 6858000"/>
              <a:gd name="connsiteX109" fmla="*/ 11454284 w 12192000"/>
              <a:gd name="connsiteY109" fmla="*/ 790107 h 6858000"/>
              <a:gd name="connsiteX110" fmla="*/ 11453043 w 12192000"/>
              <a:gd name="connsiteY110" fmla="*/ 789487 h 6858000"/>
              <a:gd name="connsiteX111" fmla="*/ 11451036 w 12192000"/>
              <a:gd name="connsiteY111" fmla="*/ 790509 h 6858000"/>
              <a:gd name="connsiteX112" fmla="*/ 11447313 w 12192000"/>
              <a:gd name="connsiteY112" fmla="*/ 792845 h 6858000"/>
              <a:gd name="connsiteX113" fmla="*/ 11441510 w 12192000"/>
              <a:gd name="connsiteY113" fmla="*/ 795181 h 6858000"/>
              <a:gd name="connsiteX114" fmla="*/ 11433370 w 12192000"/>
              <a:gd name="connsiteY114" fmla="*/ 796203 h 6858000"/>
              <a:gd name="connsiteX115" fmla="*/ 11423844 w 12192000"/>
              <a:gd name="connsiteY115" fmla="*/ 794378 h 6858000"/>
              <a:gd name="connsiteX116" fmla="*/ 11416581 w 12192000"/>
              <a:gd name="connsiteY116" fmla="*/ 788939 h 6858000"/>
              <a:gd name="connsiteX117" fmla="*/ 11411946 w 12192000"/>
              <a:gd name="connsiteY117" fmla="*/ 779997 h 6858000"/>
              <a:gd name="connsiteX118" fmla="*/ 11410303 w 12192000"/>
              <a:gd name="connsiteY118" fmla="*/ 767624 h 6858000"/>
              <a:gd name="connsiteX119" fmla="*/ 11410303 w 12192000"/>
              <a:gd name="connsiteY119" fmla="*/ 766493 h 6858000"/>
              <a:gd name="connsiteX120" fmla="*/ 11455671 w 12192000"/>
              <a:gd name="connsiteY120" fmla="*/ 766493 h 6858000"/>
              <a:gd name="connsiteX121" fmla="*/ 11456912 w 12192000"/>
              <a:gd name="connsiteY121" fmla="*/ 765982 h 6858000"/>
              <a:gd name="connsiteX122" fmla="*/ 11457277 w 12192000"/>
              <a:gd name="connsiteY122" fmla="*/ 764084 h 6858000"/>
              <a:gd name="connsiteX123" fmla="*/ 11455379 w 12192000"/>
              <a:gd name="connsiteY123" fmla="*/ 752404 h 6858000"/>
              <a:gd name="connsiteX124" fmla="*/ 11450123 w 12192000"/>
              <a:gd name="connsiteY124" fmla="*/ 743827 h 6858000"/>
              <a:gd name="connsiteX125" fmla="*/ 11442276 w 12192000"/>
              <a:gd name="connsiteY125" fmla="*/ 738535 h 6858000"/>
              <a:gd name="connsiteX126" fmla="*/ 11432494 w 12192000"/>
              <a:gd name="connsiteY126" fmla="*/ 736710 h 6858000"/>
              <a:gd name="connsiteX127" fmla="*/ 11110029 w 12192000"/>
              <a:gd name="connsiteY127" fmla="*/ 736710 h 6858000"/>
              <a:gd name="connsiteX128" fmla="*/ 11098131 w 12192000"/>
              <a:gd name="connsiteY128" fmla="*/ 739046 h 6858000"/>
              <a:gd name="connsiteX129" fmla="*/ 11089298 w 12192000"/>
              <a:gd name="connsiteY129" fmla="*/ 745470 h 6858000"/>
              <a:gd name="connsiteX130" fmla="*/ 11083787 w 12192000"/>
              <a:gd name="connsiteY130" fmla="*/ 755251 h 6858000"/>
              <a:gd name="connsiteX131" fmla="*/ 11081889 w 12192000"/>
              <a:gd name="connsiteY131" fmla="*/ 767624 h 6858000"/>
              <a:gd name="connsiteX132" fmla="*/ 11083933 w 12192000"/>
              <a:gd name="connsiteY132" fmla="*/ 781786 h 6858000"/>
              <a:gd name="connsiteX133" fmla="*/ 11089736 w 12192000"/>
              <a:gd name="connsiteY133" fmla="*/ 792224 h 6858000"/>
              <a:gd name="connsiteX134" fmla="*/ 11098751 w 12192000"/>
              <a:gd name="connsiteY134" fmla="*/ 798721 h 6858000"/>
              <a:gd name="connsiteX135" fmla="*/ 11110431 w 12192000"/>
              <a:gd name="connsiteY135" fmla="*/ 800947 h 6858000"/>
              <a:gd name="connsiteX136" fmla="*/ 11117439 w 12192000"/>
              <a:gd name="connsiteY136" fmla="*/ 800254 h 6858000"/>
              <a:gd name="connsiteX137" fmla="*/ 11123972 w 12192000"/>
              <a:gd name="connsiteY137" fmla="*/ 798393 h 6858000"/>
              <a:gd name="connsiteX138" fmla="*/ 11129483 w 12192000"/>
              <a:gd name="connsiteY138" fmla="*/ 795619 h 6858000"/>
              <a:gd name="connsiteX139" fmla="*/ 11133461 w 12192000"/>
              <a:gd name="connsiteY139" fmla="*/ 792115 h 6858000"/>
              <a:gd name="connsiteX140" fmla="*/ 11131819 w 12192000"/>
              <a:gd name="connsiteY140" fmla="*/ 790107 h 6858000"/>
              <a:gd name="connsiteX141" fmla="*/ 11130578 w 12192000"/>
              <a:gd name="connsiteY141" fmla="*/ 789487 h 6858000"/>
              <a:gd name="connsiteX142" fmla="*/ 11128571 w 12192000"/>
              <a:gd name="connsiteY142" fmla="*/ 790509 h 6858000"/>
              <a:gd name="connsiteX143" fmla="*/ 11124848 w 12192000"/>
              <a:gd name="connsiteY143" fmla="*/ 792845 h 6858000"/>
              <a:gd name="connsiteX144" fmla="*/ 11119045 w 12192000"/>
              <a:gd name="connsiteY144" fmla="*/ 795181 h 6858000"/>
              <a:gd name="connsiteX145" fmla="*/ 11110905 w 12192000"/>
              <a:gd name="connsiteY145" fmla="*/ 796203 h 6858000"/>
              <a:gd name="connsiteX146" fmla="*/ 11101379 w 12192000"/>
              <a:gd name="connsiteY146" fmla="*/ 794378 h 6858000"/>
              <a:gd name="connsiteX147" fmla="*/ 11094116 w 12192000"/>
              <a:gd name="connsiteY147" fmla="*/ 788939 h 6858000"/>
              <a:gd name="connsiteX148" fmla="*/ 11089481 w 12192000"/>
              <a:gd name="connsiteY148" fmla="*/ 779997 h 6858000"/>
              <a:gd name="connsiteX149" fmla="*/ 11087838 w 12192000"/>
              <a:gd name="connsiteY149" fmla="*/ 767624 h 6858000"/>
              <a:gd name="connsiteX150" fmla="*/ 11087838 w 12192000"/>
              <a:gd name="connsiteY150" fmla="*/ 766493 h 6858000"/>
              <a:gd name="connsiteX151" fmla="*/ 11133206 w 12192000"/>
              <a:gd name="connsiteY151" fmla="*/ 766493 h 6858000"/>
              <a:gd name="connsiteX152" fmla="*/ 11134447 w 12192000"/>
              <a:gd name="connsiteY152" fmla="*/ 765982 h 6858000"/>
              <a:gd name="connsiteX153" fmla="*/ 11134812 w 12192000"/>
              <a:gd name="connsiteY153" fmla="*/ 764084 h 6858000"/>
              <a:gd name="connsiteX154" fmla="*/ 11132914 w 12192000"/>
              <a:gd name="connsiteY154" fmla="*/ 752404 h 6858000"/>
              <a:gd name="connsiteX155" fmla="*/ 11127658 w 12192000"/>
              <a:gd name="connsiteY155" fmla="*/ 743827 h 6858000"/>
              <a:gd name="connsiteX156" fmla="*/ 11119811 w 12192000"/>
              <a:gd name="connsiteY156" fmla="*/ 738535 h 6858000"/>
              <a:gd name="connsiteX157" fmla="*/ 11110029 w 12192000"/>
              <a:gd name="connsiteY157" fmla="*/ 736710 h 6858000"/>
              <a:gd name="connsiteX158" fmla="*/ 11298399 w 12192000"/>
              <a:gd name="connsiteY158" fmla="*/ 736674 h 6858000"/>
              <a:gd name="connsiteX159" fmla="*/ 11285770 w 12192000"/>
              <a:gd name="connsiteY159" fmla="*/ 739922 h 6858000"/>
              <a:gd name="connsiteX160" fmla="*/ 11275770 w 12192000"/>
              <a:gd name="connsiteY160" fmla="*/ 748573 h 6858000"/>
              <a:gd name="connsiteX161" fmla="*/ 11275222 w 12192000"/>
              <a:gd name="connsiteY161" fmla="*/ 739265 h 6858000"/>
              <a:gd name="connsiteX162" fmla="*/ 11273397 w 12192000"/>
              <a:gd name="connsiteY162" fmla="*/ 737696 h 6858000"/>
              <a:gd name="connsiteX163" fmla="*/ 11270076 w 12192000"/>
              <a:gd name="connsiteY163" fmla="*/ 737696 h 6858000"/>
              <a:gd name="connsiteX164" fmla="*/ 11270076 w 12192000"/>
              <a:gd name="connsiteY164" fmla="*/ 800109 h 6858000"/>
              <a:gd name="connsiteX165" fmla="*/ 11276062 w 12192000"/>
              <a:gd name="connsiteY165" fmla="*/ 800109 h 6858000"/>
              <a:gd name="connsiteX166" fmla="*/ 11276062 w 12192000"/>
              <a:gd name="connsiteY166" fmla="*/ 753171 h 6858000"/>
              <a:gd name="connsiteX167" fmla="*/ 11285515 w 12192000"/>
              <a:gd name="connsiteY167" fmla="*/ 744558 h 6858000"/>
              <a:gd name="connsiteX168" fmla="*/ 11296902 w 12192000"/>
              <a:gd name="connsiteY168" fmla="*/ 741455 h 6858000"/>
              <a:gd name="connsiteX169" fmla="*/ 11309129 w 12192000"/>
              <a:gd name="connsiteY169" fmla="*/ 746456 h 6858000"/>
              <a:gd name="connsiteX170" fmla="*/ 11313144 w 12192000"/>
              <a:gd name="connsiteY170" fmla="*/ 760216 h 6858000"/>
              <a:gd name="connsiteX171" fmla="*/ 11313144 w 12192000"/>
              <a:gd name="connsiteY171" fmla="*/ 800109 h 6858000"/>
              <a:gd name="connsiteX172" fmla="*/ 11319167 w 12192000"/>
              <a:gd name="connsiteY172" fmla="*/ 800109 h 6858000"/>
              <a:gd name="connsiteX173" fmla="*/ 11319167 w 12192000"/>
              <a:gd name="connsiteY173" fmla="*/ 760216 h 6858000"/>
              <a:gd name="connsiteX174" fmla="*/ 11317853 w 12192000"/>
              <a:gd name="connsiteY174" fmla="*/ 750434 h 6858000"/>
              <a:gd name="connsiteX175" fmla="*/ 11313947 w 12192000"/>
              <a:gd name="connsiteY175" fmla="*/ 743025 h 6858000"/>
              <a:gd name="connsiteX176" fmla="*/ 11307451 w 12192000"/>
              <a:gd name="connsiteY176" fmla="*/ 738316 h 6858000"/>
              <a:gd name="connsiteX177" fmla="*/ 11298399 w 12192000"/>
              <a:gd name="connsiteY177" fmla="*/ 736674 h 6858000"/>
              <a:gd name="connsiteX178" fmla="*/ 11498886 w 12192000"/>
              <a:gd name="connsiteY178" fmla="*/ 736637 h 6858000"/>
              <a:gd name="connsiteX179" fmla="*/ 11492279 w 12192000"/>
              <a:gd name="connsiteY179" fmla="*/ 737732 h 6858000"/>
              <a:gd name="connsiteX180" fmla="*/ 11486877 w 12192000"/>
              <a:gd name="connsiteY180" fmla="*/ 740907 h 6858000"/>
              <a:gd name="connsiteX181" fmla="*/ 11482607 w 12192000"/>
              <a:gd name="connsiteY181" fmla="*/ 745944 h 6858000"/>
              <a:gd name="connsiteX182" fmla="*/ 11479322 w 12192000"/>
              <a:gd name="connsiteY182" fmla="*/ 752733 h 6858000"/>
              <a:gd name="connsiteX183" fmla="*/ 11478848 w 12192000"/>
              <a:gd name="connsiteY183" fmla="*/ 739666 h 6858000"/>
              <a:gd name="connsiteX184" fmla="*/ 11478300 w 12192000"/>
              <a:gd name="connsiteY184" fmla="*/ 738170 h 6858000"/>
              <a:gd name="connsiteX185" fmla="*/ 11476804 w 12192000"/>
              <a:gd name="connsiteY185" fmla="*/ 737732 h 6858000"/>
              <a:gd name="connsiteX186" fmla="*/ 11473592 w 12192000"/>
              <a:gd name="connsiteY186" fmla="*/ 737732 h 6858000"/>
              <a:gd name="connsiteX187" fmla="*/ 11473592 w 12192000"/>
              <a:gd name="connsiteY187" fmla="*/ 800145 h 6858000"/>
              <a:gd name="connsiteX188" fmla="*/ 11479614 w 12192000"/>
              <a:gd name="connsiteY188" fmla="*/ 800145 h 6858000"/>
              <a:gd name="connsiteX189" fmla="*/ 11479614 w 12192000"/>
              <a:gd name="connsiteY189" fmla="*/ 759741 h 6858000"/>
              <a:gd name="connsiteX190" fmla="*/ 11482644 w 12192000"/>
              <a:gd name="connsiteY190" fmla="*/ 752295 h 6858000"/>
              <a:gd name="connsiteX191" fmla="*/ 11486549 w 12192000"/>
              <a:gd name="connsiteY191" fmla="*/ 746857 h 6858000"/>
              <a:gd name="connsiteX192" fmla="*/ 11491549 w 12192000"/>
              <a:gd name="connsiteY192" fmla="*/ 743572 h 6858000"/>
              <a:gd name="connsiteX193" fmla="*/ 11497973 w 12192000"/>
              <a:gd name="connsiteY193" fmla="*/ 742477 h 6858000"/>
              <a:gd name="connsiteX194" fmla="*/ 11502024 w 12192000"/>
              <a:gd name="connsiteY194" fmla="*/ 742915 h 6858000"/>
              <a:gd name="connsiteX195" fmla="*/ 11504324 w 12192000"/>
              <a:gd name="connsiteY195" fmla="*/ 743353 h 6858000"/>
              <a:gd name="connsiteX196" fmla="*/ 11505528 w 12192000"/>
              <a:gd name="connsiteY196" fmla="*/ 742331 h 6858000"/>
              <a:gd name="connsiteX197" fmla="*/ 11506039 w 12192000"/>
              <a:gd name="connsiteY197" fmla="*/ 738206 h 6858000"/>
              <a:gd name="connsiteX198" fmla="*/ 11502718 w 12192000"/>
              <a:gd name="connsiteY198" fmla="*/ 736965 h 6858000"/>
              <a:gd name="connsiteX199" fmla="*/ 11498886 w 12192000"/>
              <a:gd name="connsiteY199" fmla="*/ 736637 h 6858000"/>
              <a:gd name="connsiteX200" fmla="*/ 11230110 w 12192000"/>
              <a:gd name="connsiteY200" fmla="*/ 736601 h 6858000"/>
              <a:gd name="connsiteX201" fmla="*/ 11217883 w 12192000"/>
              <a:gd name="connsiteY201" fmla="*/ 739119 h 6858000"/>
              <a:gd name="connsiteX202" fmla="*/ 11207590 w 12192000"/>
              <a:gd name="connsiteY202" fmla="*/ 746529 h 6858000"/>
              <a:gd name="connsiteX203" fmla="*/ 11208649 w 12192000"/>
              <a:gd name="connsiteY203" fmla="*/ 748354 h 6858000"/>
              <a:gd name="connsiteX204" fmla="*/ 11209415 w 12192000"/>
              <a:gd name="connsiteY204" fmla="*/ 749157 h 6858000"/>
              <a:gd name="connsiteX205" fmla="*/ 11210547 w 12192000"/>
              <a:gd name="connsiteY205" fmla="*/ 749485 h 6858000"/>
              <a:gd name="connsiteX206" fmla="*/ 11212883 w 12192000"/>
              <a:gd name="connsiteY206" fmla="*/ 748244 h 6858000"/>
              <a:gd name="connsiteX207" fmla="*/ 11216460 w 12192000"/>
              <a:gd name="connsiteY207" fmla="*/ 745470 h 6858000"/>
              <a:gd name="connsiteX208" fmla="*/ 11221825 w 12192000"/>
              <a:gd name="connsiteY208" fmla="*/ 742696 h 6858000"/>
              <a:gd name="connsiteX209" fmla="*/ 11229526 w 12192000"/>
              <a:gd name="connsiteY209" fmla="*/ 741455 h 6858000"/>
              <a:gd name="connsiteX210" fmla="*/ 11240585 w 12192000"/>
              <a:gd name="connsiteY210" fmla="*/ 746127 h 6858000"/>
              <a:gd name="connsiteX211" fmla="*/ 11244308 w 12192000"/>
              <a:gd name="connsiteY211" fmla="*/ 759449 h 6858000"/>
              <a:gd name="connsiteX212" fmla="*/ 11244308 w 12192000"/>
              <a:gd name="connsiteY212" fmla="*/ 765982 h 6858000"/>
              <a:gd name="connsiteX213" fmla="*/ 11226132 w 12192000"/>
              <a:gd name="connsiteY213" fmla="*/ 767734 h 6858000"/>
              <a:gd name="connsiteX214" fmla="*/ 11213759 w 12192000"/>
              <a:gd name="connsiteY214" fmla="*/ 771749 h 6858000"/>
              <a:gd name="connsiteX215" fmla="*/ 11206678 w 12192000"/>
              <a:gd name="connsiteY215" fmla="*/ 777662 h 6858000"/>
              <a:gd name="connsiteX216" fmla="*/ 11204415 w 12192000"/>
              <a:gd name="connsiteY216" fmla="*/ 784998 h 6858000"/>
              <a:gd name="connsiteX217" fmla="*/ 11205838 w 12192000"/>
              <a:gd name="connsiteY217" fmla="*/ 792298 h 6858000"/>
              <a:gd name="connsiteX218" fmla="*/ 11209598 w 12192000"/>
              <a:gd name="connsiteY218" fmla="*/ 797298 h 6858000"/>
              <a:gd name="connsiteX219" fmla="*/ 11214963 w 12192000"/>
              <a:gd name="connsiteY219" fmla="*/ 800181 h 6858000"/>
              <a:gd name="connsiteX220" fmla="*/ 11221168 w 12192000"/>
              <a:gd name="connsiteY220" fmla="*/ 801130 h 6858000"/>
              <a:gd name="connsiteX221" fmla="*/ 11228176 w 12192000"/>
              <a:gd name="connsiteY221" fmla="*/ 800364 h 6858000"/>
              <a:gd name="connsiteX222" fmla="*/ 11234125 w 12192000"/>
              <a:gd name="connsiteY222" fmla="*/ 798247 h 6858000"/>
              <a:gd name="connsiteX223" fmla="*/ 11239417 w 12192000"/>
              <a:gd name="connsiteY223" fmla="*/ 794853 h 6858000"/>
              <a:gd name="connsiteX224" fmla="*/ 11244527 w 12192000"/>
              <a:gd name="connsiteY224" fmla="*/ 790327 h 6858000"/>
              <a:gd name="connsiteX225" fmla="*/ 11245403 w 12192000"/>
              <a:gd name="connsiteY225" fmla="*/ 798357 h 6858000"/>
              <a:gd name="connsiteX226" fmla="*/ 11247739 w 12192000"/>
              <a:gd name="connsiteY226" fmla="*/ 800109 h 6858000"/>
              <a:gd name="connsiteX227" fmla="*/ 11250111 w 12192000"/>
              <a:gd name="connsiteY227" fmla="*/ 800109 h 6858000"/>
              <a:gd name="connsiteX228" fmla="*/ 11250111 w 12192000"/>
              <a:gd name="connsiteY228" fmla="*/ 759449 h 6858000"/>
              <a:gd name="connsiteX229" fmla="*/ 11248870 w 12192000"/>
              <a:gd name="connsiteY229" fmla="*/ 749996 h 6858000"/>
              <a:gd name="connsiteX230" fmla="*/ 11245147 w 12192000"/>
              <a:gd name="connsiteY230" fmla="*/ 742769 h 6858000"/>
              <a:gd name="connsiteX231" fmla="*/ 11238906 w 12192000"/>
              <a:gd name="connsiteY231" fmla="*/ 738207 h 6858000"/>
              <a:gd name="connsiteX232" fmla="*/ 11230110 w 12192000"/>
              <a:gd name="connsiteY232" fmla="*/ 736601 h 6858000"/>
              <a:gd name="connsiteX233" fmla="*/ 11018017 w 12192000"/>
              <a:gd name="connsiteY233" fmla="*/ 736601 h 6858000"/>
              <a:gd name="connsiteX234" fmla="*/ 11005790 w 12192000"/>
              <a:gd name="connsiteY234" fmla="*/ 739119 h 6858000"/>
              <a:gd name="connsiteX235" fmla="*/ 10995497 w 12192000"/>
              <a:gd name="connsiteY235" fmla="*/ 746529 h 6858000"/>
              <a:gd name="connsiteX236" fmla="*/ 10996556 w 12192000"/>
              <a:gd name="connsiteY236" fmla="*/ 748354 h 6858000"/>
              <a:gd name="connsiteX237" fmla="*/ 10997322 w 12192000"/>
              <a:gd name="connsiteY237" fmla="*/ 749157 h 6858000"/>
              <a:gd name="connsiteX238" fmla="*/ 10998454 w 12192000"/>
              <a:gd name="connsiteY238" fmla="*/ 749485 h 6858000"/>
              <a:gd name="connsiteX239" fmla="*/ 11000790 w 12192000"/>
              <a:gd name="connsiteY239" fmla="*/ 748244 h 6858000"/>
              <a:gd name="connsiteX240" fmla="*/ 11004367 w 12192000"/>
              <a:gd name="connsiteY240" fmla="*/ 745470 h 6858000"/>
              <a:gd name="connsiteX241" fmla="*/ 11009732 w 12192000"/>
              <a:gd name="connsiteY241" fmla="*/ 742696 h 6858000"/>
              <a:gd name="connsiteX242" fmla="*/ 11017433 w 12192000"/>
              <a:gd name="connsiteY242" fmla="*/ 741455 h 6858000"/>
              <a:gd name="connsiteX243" fmla="*/ 11028492 w 12192000"/>
              <a:gd name="connsiteY243" fmla="*/ 746127 h 6858000"/>
              <a:gd name="connsiteX244" fmla="*/ 11032215 w 12192000"/>
              <a:gd name="connsiteY244" fmla="*/ 759449 h 6858000"/>
              <a:gd name="connsiteX245" fmla="*/ 11032215 w 12192000"/>
              <a:gd name="connsiteY245" fmla="*/ 765982 h 6858000"/>
              <a:gd name="connsiteX246" fmla="*/ 11014039 w 12192000"/>
              <a:gd name="connsiteY246" fmla="*/ 767734 h 6858000"/>
              <a:gd name="connsiteX247" fmla="*/ 11001666 w 12192000"/>
              <a:gd name="connsiteY247" fmla="*/ 771749 h 6858000"/>
              <a:gd name="connsiteX248" fmla="*/ 10994585 w 12192000"/>
              <a:gd name="connsiteY248" fmla="*/ 777662 h 6858000"/>
              <a:gd name="connsiteX249" fmla="*/ 10992322 w 12192000"/>
              <a:gd name="connsiteY249" fmla="*/ 784998 h 6858000"/>
              <a:gd name="connsiteX250" fmla="*/ 10993745 w 12192000"/>
              <a:gd name="connsiteY250" fmla="*/ 792298 h 6858000"/>
              <a:gd name="connsiteX251" fmla="*/ 10997505 w 12192000"/>
              <a:gd name="connsiteY251" fmla="*/ 797298 h 6858000"/>
              <a:gd name="connsiteX252" fmla="*/ 11002870 w 12192000"/>
              <a:gd name="connsiteY252" fmla="*/ 800181 h 6858000"/>
              <a:gd name="connsiteX253" fmla="*/ 11009075 w 12192000"/>
              <a:gd name="connsiteY253" fmla="*/ 801130 h 6858000"/>
              <a:gd name="connsiteX254" fmla="*/ 11016083 w 12192000"/>
              <a:gd name="connsiteY254" fmla="*/ 800364 h 6858000"/>
              <a:gd name="connsiteX255" fmla="*/ 11022032 w 12192000"/>
              <a:gd name="connsiteY255" fmla="*/ 798247 h 6858000"/>
              <a:gd name="connsiteX256" fmla="*/ 11027324 w 12192000"/>
              <a:gd name="connsiteY256" fmla="*/ 794853 h 6858000"/>
              <a:gd name="connsiteX257" fmla="*/ 11032434 w 12192000"/>
              <a:gd name="connsiteY257" fmla="*/ 790327 h 6858000"/>
              <a:gd name="connsiteX258" fmla="*/ 11033310 w 12192000"/>
              <a:gd name="connsiteY258" fmla="*/ 798357 h 6858000"/>
              <a:gd name="connsiteX259" fmla="*/ 11035646 w 12192000"/>
              <a:gd name="connsiteY259" fmla="*/ 800109 h 6858000"/>
              <a:gd name="connsiteX260" fmla="*/ 11038018 w 12192000"/>
              <a:gd name="connsiteY260" fmla="*/ 800109 h 6858000"/>
              <a:gd name="connsiteX261" fmla="*/ 11038018 w 12192000"/>
              <a:gd name="connsiteY261" fmla="*/ 759449 h 6858000"/>
              <a:gd name="connsiteX262" fmla="*/ 11036777 w 12192000"/>
              <a:gd name="connsiteY262" fmla="*/ 749996 h 6858000"/>
              <a:gd name="connsiteX263" fmla="*/ 11033054 w 12192000"/>
              <a:gd name="connsiteY263" fmla="*/ 742769 h 6858000"/>
              <a:gd name="connsiteX264" fmla="*/ 11026813 w 12192000"/>
              <a:gd name="connsiteY264" fmla="*/ 738207 h 6858000"/>
              <a:gd name="connsiteX265" fmla="*/ 11018017 w 12192000"/>
              <a:gd name="connsiteY265" fmla="*/ 736601 h 6858000"/>
              <a:gd name="connsiteX266" fmla="*/ 11832117 w 12192000"/>
              <a:gd name="connsiteY266" fmla="*/ 734703 h 6858000"/>
              <a:gd name="connsiteX267" fmla="*/ 11826824 w 12192000"/>
              <a:gd name="connsiteY267" fmla="*/ 735360 h 6858000"/>
              <a:gd name="connsiteX268" fmla="*/ 11822299 w 12192000"/>
              <a:gd name="connsiteY268" fmla="*/ 737148 h 6858000"/>
              <a:gd name="connsiteX269" fmla="*/ 11818357 w 12192000"/>
              <a:gd name="connsiteY269" fmla="*/ 739849 h 6858000"/>
              <a:gd name="connsiteX270" fmla="*/ 11814816 w 12192000"/>
              <a:gd name="connsiteY270" fmla="*/ 743317 h 6858000"/>
              <a:gd name="connsiteX271" fmla="*/ 11813794 w 12192000"/>
              <a:gd name="connsiteY271" fmla="*/ 738535 h 6858000"/>
              <a:gd name="connsiteX272" fmla="*/ 11809853 w 12192000"/>
              <a:gd name="connsiteY272" fmla="*/ 735725 h 6858000"/>
              <a:gd name="connsiteX273" fmla="*/ 11800363 w 12192000"/>
              <a:gd name="connsiteY273" fmla="*/ 735725 h 6858000"/>
              <a:gd name="connsiteX274" fmla="*/ 11800363 w 12192000"/>
              <a:gd name="connsiteY274" fmla="*/ 800072 h 6858000"/>
              <a:gd name="connsiteX275" fmla="*/ 11800363 w 12192000"/>
              <a:gd name="connsiteY275" fmla="*/ 800181 h 6858000"/>
              <a:gd name="connsiteX276" fmla="*/ 11815911 w 12192000"/>
              <a:gd name="connsiteY276" fmla="*/ 800181 h 6858000"/>
              <a:gd name="connsiteX277" fmla="*/ 11815911 w 12192000"/>
              <a:gd name="connsiteY277" fmla="*/ 753062 h 6858000"/>
              <a:gd name="connsiteX278" fmla="*/ 11821350 w 12192000"/>
              <a:gd name="connsiteY278" fmla="*/ 748499 h 6858000"/>
              <a:gd name="connsiteX279" fmla="*/ 11827664 w 12192000"/>
              <a:gd name="connsiteY279" fmla="*/ 746821 h 6858000"/>
              <a:gd name="connsiteX280" fmla="*/ 11835292 w 12192000"/>
              <a:gd name="connsiteY280" fmla="*/ 749777 h 6858000"/>
              <a:gd name="connsiteX281" fmla="*/ 11837884 w 12192000"/>
              <a:gd name="connsiteY281" fmla="*/ 759194 h 6858000"/>
              <a:gd name="connsiteX282" fmla="*/ 11837884 w 12192000"/>
              <a:gd name="connsiteY282" fmla="*/ 800145 h 6858000"/>
              <a:gd name="connsiteX283" fmla="*/ 11853432 w 12192000"/>
              <a:gd name="connsiteY283" fmla="*/ 800145 h 6858000"/>
              <a:gd name="connsiteX284" fmla="*/ 11853432 w 12192000"/>
              <a:gd name="connsiteY284" fmla="*/ 759194 h 6858000"/>
              <a:gd name="connsiteX285" fmla="*/ 11854308 w 12192000"/>
              <a:gd name="connsiteY285" fmla="*/ 753865 h 6858000"/>
              <a:gd name="connsiteX286" fmla="*/ 11856717 w 12192000"/>
              <a:gd name="connsiteY286" fmla="*/ 749996 h 6858000"/>
              <a:gd name="connsiteX287" fmla="*/ 11860294 w 12192000"/>
              <a:gd name="connsiteY287" fmla="*/ 747660 h 6858000"/>
              <a:gd name="connsiteX288" fmla="*/ 11864710 w 12192000"/>
              <a:gd name="connsiteY288" fmla="*/ 746857 h 6858000"/>
              <a:gd name="connsiteX289" fmla="*/ 11872630 w 12192000"/>
              <a:gd name="connsiteY289" fmla="*/ 749959 h 6858000"/>
              <a:gd name="connsiteX290" fmla="*/ 11875331 w 12192000"/>
              <a:gd name="connsiteY290" fmla="*/ 759194 h 6858000"/>
              <a:gd name="connsiteX291" fmla="*/ 11875331 w 12192000"/>
              <a:gd name="connsiteY291" fmla="*/ 800145 h 6858000"/>
              <a:gd name="connsiteX292" fmla="*/ 11890806 w 12192000"/>
              <a:gd name="connsiteY292" fmla="*/ 800145 h 6858000"/>
              <a:gd name="connsiteX293" fmla="*/ 11890806 w 12192000"/>
              <a:gd name="connsiteY293" fmla="*/ 759194 h 6858000"/>
              <a:gd name="connsiteX294" fmla="*/ 11889346 w 12192000"/>
              <a:gd name="connsiteY294" fmla="*/ 748828 h 6858000"/>
              <a:gd name="connsiteX295" fmla="*/ 11885040 w 12192000"/>
              <a:gd name="connsiteY295" fmla="*/ 741163 h 6858000"/>
              <a:gd name="connsiteX296" fmla="*/ 11878068 w 12192000"/>
              <a:gd name="connsiteY296" fmla="*/ 736382 h 6858000"/>
              <a:gd name="connsiteX297" fmla="*/ 11868579 w 12192000"/>
              <a:gd name="connsiteY297" fmla="*/ 734740 h 6858000"/>
              <a:gd name="connsiteX298" fmla="*/ 11862447 w 12192000"/>
              <a:gd name="connsiteY298" fmla="*/ 735433 h 6858000"/>
              <a:gd name="connsiteX299" fmla="*/ 11856717 w 12192000"/>
              <a:gd name="connsiteY299" fmla="*/ 737550 h 6858000"/>
              <a:gd name="connsiteX300" fmla="*/ 11851753 w 12192000"/>
              <a:gd name="connsiteY300" fmla="*/ 741273 h 6858000"/>
              <a:gd name="connsiteX301" fmla="*/ 11847994 w 12192000"/>
              <a:gd name="connsiteY301" fmla="*/ 746748 h 6858000"/>
              <a:gd name="connsiteX302" fmla="*/ 11842117 w 12192000"/>
              <a:gd name="connsiteY302" fmla="*/ 737988 h 6858000"/>
              <a:gd name="connsiteX303" fmla="*/ 11832117 w 12192000"/>
              <a:gd name="connsiteY303" fmla="*/ 734703 h 6858000"/>
              <a:gd name="connsiteX304" fmla="*/ 11727038 w 12192000"/>
              <a:gd name="connsiteY304" fmla="*/ 734703 h 6858000"/>
              <a:gd name="connsiteX305" fmla="*/ 11721745 w 12192000"/>
              <a:gd name="connsiteY305" fmla="*/ 735360 h 6858000"/>
              <a:gd name="connsiteX306" fmla="*/ 11717220 w 12192000"/>
              <a:gd name="connsiteY306" fmla="*/ 737148 h 6858000"/>
              <a:gd name="connsiteX307" fmla="*/ 11713278 w 12192000"/>
              <a:gd name="connsiteY307" fmla="*/ 739849 h 6858000"/>
              <a:gd name="connsiteX308" fmla="*/ 11709737 w 12192000"/>
              <a:gd name="connsiteY308" fmla="*/ 743317 h 6858000"/>
              <a:gd name="connsiteX309" fmla="*/ 11708715 w 12192000"/>
              <a:gd name="connsiteY309" fmla="*/ 738535 h 6858000"/>
              <a:gd name="connsiteX310" fmla="*/ 11704774 w 12192000"/>
              <a:gd name="connsiteY310" fmla="*/ 735725 h 6858000"/>
              <a:gd name="connsiteX311" fmla="*/ 11695284 w 12192000"/>
              <a:gd name="connsiteY311" fmla="*/ 735725 h 6858000"/>
              <a:gd name="connsiteX312" fmla="*/ 11695284 w 12192000"/>
              <a:gd name="connsiteY312" fmla="*/ 800072 h 6858000"/>
              <a:gd name="connsiteX313" fmla="*/ 11695284 w 12192000"/>
              <a:gd name="connsiteY313" fmla="*/ 800181 h 6858000"/>
              <a:gd name="connsiteX314" fmla="*/ 11710832 w 12192000"/>
              <a:gd name="connsiteY314" fmla="*/ 800181 h 6858000"/>
              <a:gd name="connsiteX315" fmla="*/ 11710832 w 12192000"/>
              <a:gd name="connsiteY315" fmla="*/ 753062 h 6858000"/>
              <a:gd name="connsiteX316" fmla="*/ 11716271 w 12192000"/>
              <a:gd name="connsiteY316" fmla="*/ 748499 h 6858000"/>
              <a:gd name="connsiteX317" fmla="*/ 11722585 w 12192000"/>
              <a:gd name="connsiteY317" fmla="*/ 746821 h 6858000"/>
              <a:gd name="connsiteX318" fmla="*/ 11730213 w 12192000"/>
              <a:gd name="connsiteY318" fmla="*/ 749777 h 6858000"/>
              <a:gd name="connsiteX319" fmla="*/ 11732805 w 12192000"/>
              <a:gd name="connsiteY319" fmla="*/ 759194 h 6858000"/>
              <a:gd name="connsiteX320" fmla="*/ 11732805 w 12192000"/>
              <a:gd name="connsiteY320" fmla="*/ 800145 h 6858000"/>
              <a:gd name="connsiteX321" fmla="*/ 11748353 w 12192000"/>
              <a:gd name="connsiteY321" fmla="*/ 800145 h 6858000"/>
              <a:gd name="connsiteX322" fmla="*/ 11748353 w 12192000"/>
              <a:gd name="connsiteY322" fmla="*/ 759194 h 6858000"/>
              <a:gd name="connsiteX323" fmla="*/ 11749229 w 12192000"/>
              <a:gd name="connsiteY323" fmla="*/ 753865 h 6858000"/>
              <a:gd name="connsiteX324" fmla="*/ 11751638 w 12192000"/>
              <a:gd name="connsiteY324" fmla="*/ 749996 h 6858000"/>
              <a:gd name="connsiteX325" fmla="*/ 11755215 w 12192000"/>
              <a:gd name="connsiteY325" fmla="*/ 747660 h 6858000"/>
              <a:gd name="connsiteX326" fmla="*/ 11759631 w 12192000"/>
              <a:gd name="connsiteY326" fmla="*/ 746857 h 6858000"/>
              <a:gd name="connsiteX327" fmla="*/ 11767551 w 12192000"/>
              <a:gd name="connsiteY327" fmla="*/ 749959 h 6858000"/>
              <a:gd name="connsiteX328" fmla="*/ 11770252 w 12192000"/>
              <a:gd name="connsiteY328" fmla="*/ 759194 h 6858000"/>
              <a:gd name="connsiteX329" fmla="*/ 11770252 w 12192000"/>
              <a:gd name="connsiteY329" fmla="*/ 800145 h 6858000"/>
              <a:gd name="connsiteX330" fmla="*/ 11785727 w 12192000"/>
              <a:gd name="connsiteY330" fmla="*/ 800145 h 6858000"/>
              <a:gd name="connsiteX331" fmla="*/ 11785727 w 12192000"/>
              <a:gd name="connsiteY331" fmla="*/ 759194 h 6858000"/>
              <a:gd name="connsiteX332" fmla="*/ 11784267 w 12192000"/>
              <a:gd name="connsiteY332" fmla="*/ 748828 h 6858000"/>
              <a:gd name="connsiteX333" fmla="*/ 11779961 w 12192000"/>
              <a:gd name="connsiteY333" fmla="*/ 741163 h 6858000"/>
              <a:gd name="connsiteX334" fmla="*/ 11772989 w 12192000"/>
              <a:gd name="connsiteY334" fmla="*/ 736382 h 6858000"/>
              <a:gd name="connsiteX335" fmla="*/ 11763500 w 12192000"/>
              <a:gd name="connsiteY335" fmla="*/ 734740 h 6858000"/>
              <a:gd name="connsiteX336" fmla="*/ 11757368 w 12192000"/>
              <a:gd name="connsiteY336" fmla="*/ 735433 h 6858000"/>
              <a:gd name="connsiteX337" fmla="*/ 11751638 w 12192000"/>
              <a:gd name="connsiteY337" fmla="*/ 737550 h 6858000"/>
              <a:gd name="connsiteX338" fmla="*/ 11746674 w 12192000"/>
              <a:gd name="connsiteY338" fmla="*/ 741273 h 6858000"/>
              <a:gd name="connsiteX339" fmla="*/ 11742915 w 12192000"/>
              <a:gd name="connsiteY339" fmla="*/ 746748 h 6858000"/>
              <a:gd name="connsiteX340" fmla="*/ 11737038 w 12192000"/>
              <a:gd name="connsiteY340" fmla="*/ 737988 h 6858000"/>
              <a:gd name="connsiteX341" fmla="*/ 11727038 w 12192000"/>
              <a:gd name="connsiteY341" fmla="*/ 734703 h 6858000"/>
              <a:gd name="connsiteX342" fmla="*/ 11656814 w 12192000"/>
              <a:gd name="connsiteY342" fmla="*/ 734557 h 6858000"/>
              <a:gd name="connsiteX343" fmla="*/ 11630097 w 12192000"/>
              <a:gd name="connsiteY343" fmla="*/ 744704 h 6858000"/>
              <a:gd name="connsiteX344" fmla="*/ 11632725 w 12192000"/>
              <a:gd name="connsiteY344" fmla="*/ 749740 h 6858000"/>
              <a:gd name="connsiteX345" fmla="*/ 11634550 w 12192000"/>
              <a:gd name="connsiteY345" fmla="*/ 751711 h 6858000"/>
              <a:gd name="connsiteX346" fmla="*/ 11637324 w 12192000"/>
              <a:gd name="connsiteY346" fmla="*/ 752551 h 6858000"/>
              <a:gd name="connsiteX347" fmla="*/ 11640755 w 12192000"/>
              <a:gd name="connsiteY347" fmla="*/ 751675 h 6858000"/>
              <a:gd name="connsiteX348" fmla="*/ 11644186 w 12192000"/>
              <a:gd name="connsiteY348" fmla="*/ 749704 h 6858000"/>
              <a:gd name="connsiteX349" fmla="*/ 11648529 w 12192000"/>
              <a:gd name="connsiteY349" fmla="*/ 747733 h 6858000"/>
              <a:gd name="connsiteX350" fmla="*/ 11654770 w 12192000"/>
              <a:gd name="connsiteY350" fmla="*/ 746857 h 6858000"/>
              <a:gd name="connsiteX351" fmla="*/ 11662727 w 12192000"/>
              <a:gd name="connsiteY351" fmla="*/ 749959 h 6858000"/>
              <a:gd name="connsiteX352" fmla="*/ 11665501 w 12192000"/>
              <a:gd name="connsiteY352" fmla="*/ 759522 h 6858000"/>
              <a:gd name="connsiteX353" fmla="*/ 11665501 w 12192000"/>
              <a:gd name="connsiteY353" fmla="*/ 763281 h 6858000"/>
              <a:gd name="connsiteX354" fmla="*/ 11652471 w 12192000"/>
              <a:gd name="connsiteY354" fmla="*/ 764376 h 6858000"/>
              <a:gd name="connsiteX355" fmla="*/ 11642470 w 12192000"/>
              <a:gd name="connsiteY355" fmla="*/ 766712 h 6858000"/>
              <a:gd name="connsiteX356" fmla="*/ 11635244 w 12192000"/>
              <a:gd name="connsiteY356" fmla="*/ 770107 h 6858000"/>
              <a:gd name="connsiteX357" fmla="*/ 11630462 w 12192000"/>
              <a:gd name="connsiteY357" fmla="*/ 774231 h 6858000"/>
              <a:gd name="connsiteX358" fmla="*/ 11627798 w 12192000"/>
              <a:gd name="connsiteY358" fmla="*/ 778830 h 6858000"/>
              <a:gd name="connsiteX359" fmla="*/ 11626995 w 12192000"/>
              <a:gd name="connsiteY359" fmla="*/ 783684 h 6858000"/>
              <a:gd name="connsiteX360" fmla="*/ 11628382 w 12192000"/>
              <a:gd name="connsiteY360" fmla="*/ 791276 h 6858000"/>
              <a:gd name="connsiteX361" fmla="*/ 11632287 w 12192000"/>
              <a:gd name="connsiteY361" fmla="*/ 796751 h 6858000"/>
              <a:gd name="connsiteX362" fmla="*/ 11638237 w 12192000"/>
              <a:gd name="connsiteY362" fmla="*/ 800035 h 6858000"/>
              <a:gd name="connsiteX363" fmla="*/ 11645755 w 12192000"/>
              <a:gd name="connsiteY363" fmla="*/ 801130 h 6858000"/>
              <a:gd name="connsiteX364" fmla="*/ 11652070 w 12192000"/>
              <a:gd name="connsiteY364" fmla="*/ 800546 h 6858000"/>
              <a:gd name="connsiteX365" fmla="*/ 11657435 w 12192000"/>
              <a:gd name="connsiteY365" fmla="*/ 798831 h 6858000"/>
              <a:gd name="connsiteX366" fmla="*/ 11662253 w 12192000"/>
              <a:gd name="connsiteY366" fmla="*/ 796057 h 6858000"/>
              <a:gd name="connsiteX367" fmla="*/ 11667034 w 12192000"/>
              <a:gd name="connsiteY367" fmla="*/ 792188 h 6858000"/>
              <a:gd name="connsiteX368" fmla="*/ 11668421 w 12192000"/>
              <a:gd name="connsiteY368" fmla="*/ 796824 h 6858000"/>
              <a:gd name="connsiteX369" fmla="*/ 11670319 w 12192000"/>
              <a:gd name="connsiteY369" fmla="*/ 799488 h 6858000"/>
              <a:gd name="connsiteX370" fmla="*/ 11673713 w 12192000"/>
              <a:gd name="connsiteY370" fmla="*/ 800145 h 6858000"/>
              <a:gd name="connsiteX371" fmla="*/ 11680721 w 12192000"/>
              <a:gd name="connsiteY371" fmla="*/ 800145 h 6858000"/>
              <a:gd name="connsiteX372" fmla="*/ 11680721 w 12192000"/>
              <a:gd name="connsiteY372" fmla="*/ 759485 h 6858000"/>
              <a:gd name="connsiteX373" fmla="*/ 11679115 w 12192000"/>
              <a:gd name="connsiteY373" fmla="*/ 749448 h 6858000"/>
              <a:gd name="connsiteX374" fmla="*/ 11674443 w 12192000"/>
              <a:gd name="connsiteY374" fmla="*/ 741565 h 6858000"/>
              <a:gd name="connsiteX375" fmla="*/ 11666924 w 12192000"/>
              <a:gd name="connsiteY375" fmla="*/ 736418 h 6858000"/>
              <a:gd name="connsiteX376" fmla="*/ 11656814 w 12192000"/>
              <a:gd name="connsiteY376" fmla="*/ 734557 h 6858000"/>
              <a:gd name="connsiteX377" fmla="*/ 11525784 w 12192000"/>
              <a:gd name="connsiteY377" fmla="*/ 716089 h 6858000"/>
              <a:gd name="connsiteX378" fmla="*/ 11523521 w 12192000"/>
              <a:gd name="connsiteY378" fmla="*/ 716782 h 6858000"/>
              <a:gd name="connsiteX379" fmla="*/ 11522317 w 12192000"/>
              <a:gd name="connsiteY379" fmla="*/ 718717 h 6858000"/>
              <a:gd name="connsiteX380" fmla="*/ 11519069 w 12192000"/>
              <a:gd name="connsiteY380" fmla="*/ 736273 h 6858000"/>
              <a:gd name="connsiteX381" fmla="*/ 11508703 w 12192000"/>
              <a:gd name="connsiteY381" fmla="*/ 737952 h 6858000"/>
              <a:gd name="connsiteX382" fmla="*/ 11508703 w 12192000"/>
              <a:gd name="connsiteY382" fmla="*/ 744083 h 6858000"/>
              <a:gd name="connsiteX383" fmla="*/ 11509579 w 12192000"/>
              <a:gd name="connsiteY383" fmla="*/ 746529 h 6858000"/>
              <a:gd name="connsiteX384" fmla="*/ 11511696 w 12192000"/>
              <a:gd name="connsiteY384" fmla="*/ 747332 h 6858000"/>
              <a:gd name="connsiteX385" fmla="*/ 11518266 w 12192000"/>
              <a:gd name="connsiteY385" fmla="*/ 747332 h 6858000"/>
              <a:gd name="connsiteX386" fmla="*/ 11518266 w 12192000"/>
              <a:gd name="connsiteY386" fmla="*/ 783283 h 6858000"/>
              <a:gd name="connsiteX387" fmla="*/ 11522755 w 12192000"/>
              <a:gd name="connsiteY387" fmla="*/ 796349 h 6858000"/>
              <a:gd name="connsiteX388" fmla="*/ 11535639 w 12192000"/>
              <a:gd name="connsiteY388" fmla="*/ 801094 h 6858000"/>
              <a:gd name="connsiteX389" fmla="*/ 11544764 w 12192000"/>
              <a:gd name="connsiteY389" fmla="*/ 799671 h 6858000"/>
              <a:gd name="connsiteX390" fmla="*/ 11552538 w 12192000"/>
              <a:gd name="connsiteY390" fmla="*/ 795400 h 6858000"/>
              <a:gd name="connsiteX391" fmla="*/ 11547902 w 12192000"/>
              <a:gd name="connsiteY391" fmla="*/ 787882 h 6858000"/>
              <a:gd name="connsiteX392" fmla="*/ 11546953 w 12192000"/>
              <a:gd name="connsiteY392" fmla="*/ 786860 h 6858000"/>
              <a:gd name="connsiteX393" fmla="*/ 11545822 w 12192000"/>
              <a:gd name="connsiteY393" fmla="*/ 786531 h 6858000"/>
              <a:gd name="connsiteX394" fmla="*/ 11544691 w 12192000"/>
              <a:gd name="connsiteY394" fmla="*/ 786860 h 6858000"/>
              <a:gd name="connsiteX395" fmla="*/ 11543413 w 12192000"/>
              <a:gd name="connsiteY395" fmla="*/ 787590 h 6858000"/>
              <a:gd name="connsiteX396" fmla="*/ 11541734 w 12192000"/>
              <a:gd name="connsiteY396" fmla="*/ 788320 h 6858000"/>
              <a:gd name="connsiteX397" fmla="*/ 11539325 w 12192000"/>
              <a:gd name="connsiteY397" fmla="*/ 788648 h 6858000"/>
              <a:gd name="connsiteX398" fmla="*/ 11535274 w 12192000"/>
              <a:gd name="connsiteY398" fmla="*/ 786969 h 6858000"/>
              <a:gd name="connsiteX399" fmla="*/ 11533814 w 12192000"/>
              <a:gd name="connsiteY399" fmla="*/ 782261 h 6858000"/>
              <a:gd name="connsiteX400" fmla="*/ 11533814 w 12192000"/>
              <a:gd name="connsiteY400" fmla="*/ 747368 h 6858000"/>
              <a:gd name="connsiteX401" fmla="*/ 11551005 w 12192000"/>
              <a:gd name="connsiteY401" fmla="*/ 747368 h 6858000"/>
              <a:gd name="connsiteX402" fmla="*/ 11551005 w 12192000"/>
              <a:gd name="connsiteY402" fmla="*/ 736346 h 6858000"/>
              <a:gd name="connsiteX403" fmla="*/ 11533814 w 12192000"/>
              <a:gd name="connsiteY403" fmla="*/ 736346 h 6858000"/>
              <a:gd name="connsiteX404" fmla="*/ 11533814 w 12192000"/>
              <a:gd name="connsiteY404" fmla="*/ 716089 h 6858000"/>
              <a:gd name="connsiteX405" fmla="*/ 11381688 w 12192000"/>
              <a:gd name="connsiteY405" fmla="*/ 708826 h 6858000"/>
              <a:gd name="connsiteX406" fmla="*/ 11381688 w 12192000"/>
              <a:gd name="connsiteY406" fmla="*/ 745836 h 6858000"/>
              <a:gd name="connsiteX407" fmla="*/ 11373585 w 12192000"/>
              <a:gd name="connsiteY407" fmla="*/ 738937 h 6858000"/>
              <a:gd name="connsiteX408" fmla="*/ 11362599 w 12192000"/>
              <a:gd name="connsiteY408" fmla="*/ 736601 h 6858000"/>
              <a:gd name="connsiteX409" fmla="*/ 11350956 w 12192000"/>
              <a:gd name="connsiteY409" fmla="*/ 739120 h 6858000"/>
              <a:gd name="connsiteX410" fmla="*/ 11342452 w 12192000"/>
              <a:gd name="connsiteY410" fmla="*/ 745982 h 6858000"/>
              <a:gd name="connsiteX411" fmla="*/ 11337196 w 12192000"/>
              <a:gd name="connsiteY411" fmla="*/ 756274 h 6858000"/>
              <a:gd name="connsiteX412" fmla="*/ 11335408 w 12192000"/>
              <a:gd name="connsiteY412" fmla="*/ 769049 h 6858000"/>
              <a:gd name="connsiteX413" fmla="*/ 11341795 w 12192000"/>
              <a:gd name="connsiteY413" fmla="*/ 792955 h 6858000"/>
              <a:gd name="connsiteX414" fmla="*/ 11359753 w 12192000"/>
              <a:gd name="connsiteY414" fmla="*/ 800912 h 6858000"/>
              <a:gd name="connsiteX415" fmla="*/ 11372162 w 12192000"/>
              <a:gd name="connsiteY415" fmla="*/ 797591 h 6858000"/>
              <a:gd name="connsiteX416" fmla="*/ 11381834 w 12192000"/>
              <a:gd name="connsiteY416" fmla="*/ 788612 h 6858000"/>
              <a:gd name="connsiteX417" fmla="*/ 11382455 w 12192000"/>
              <a:gd name="connsiteY417" fmla="*/ 798466 h 6858000"/>
              <a:gd name="connsiteX418" fmla="*/ 11384353 w 12192000"/>
              <a:gd name="connsiteY418" fmla="*/ 800109 h 6858000"/>
              <a:gd name="connsiteX419" fmla="*/ 11387601 w 12192000"/>
              <a:gd name="connsiteY419" fmla="*/ 800109 h 6858000"/>
              <a:gd name="connsiteX420" fmla="*/ 11387601 w 12192000"/>
              <a:gd name="connsiteY420" fmla="*/ 708826 h 6858000"/>
              <a:gd name="connsiteX421" fmla="*/ 11058530 w 12192000"/>
              <a:gd name="connsiteY421" fmla="*/ 708826 h 6858000"/>
              <a:gd name="connsiteX422" fmla="*/ 11058530 w 12192000"/>
              <a:gd name="connsiteY422" fmla="*/ 800109 h 6858000"/>
              <a:gd name="connsiteX423" fmla="*/ 11064552 w 12192000"/>
              <a:gd name="connsiteY423" fmla="*/ 800109 h 6858000"/>
              <a:gd name="connsiteX424" fmla="*/ 11064552 w 12192000"/>
              <a:gd name="connsiteY424" fmla="*/ 708826 h 6858000"/>
              <a:gd name="connsiteX425" fmla="*/ 11560896 w 12192000"/>
              <a:gd name="connsiteY425" fmla="*/ 706855 h 6858000"/>
              <a:gd name="connsiteX426" fmla="*/ 11560896 w 12192000"/>
              <a:gd name="connsiteY426" fmla="*/ 800072 h 6858000"/>
              <a:gd name="connsiteX427" fmla="*/ 11576371 w 12192000"/>
              <a:gd name="connsiteY427" fmla="*/ 800072 h 6858000"/>
              <a:gd name="connsiteX428" fmla="*/ 11576371 w 12192000"/>
              <a:gd name="connsiteY428" fmla="*/ 753537 h 6858000"/>
              <a:gd name="connsiteX429" fmla="*/ 11583014 w 12192000"/>
              <a:gd name="connsiteY429" fmla="*/ 748573 h 6858000"/>
              <a:gd name="connsiteX430" fmla="*/ 11590533 w 12192000"/>
              <a:gd name="connsiteY430" fmla="*/ 746748 h 6858000"/>
              <a:gd name="connsiteX431" fmla="*/ 11598745 w 12192000"/>
              <a:gd name="connsiteY431" fmla="*/ 749996 h 6858000"/>
              <a:gd name="connsiteX432" fmla="*/ 11601446 w 12192000"/>
              <a:gd name="connsiteY432" fmla="*/ 759121 h 6858000"/>
              <a:gd name="connsiteX433" fmla="*/ 11601446 w 12192000"/>
              <a:gd name="connsiteY433" fmla="*/ 800072 h 6858000"/>
              <a:gd name="connsiteX434" fmla="*/ 11616921 w 12192000"/>
              <a:gd name="connsiteY434" fmla="*/ 800072 h 6858000"/>
              <a:gd name="connsiteX435" fmla="*/ 11616921 w 12192000"/>
              <a:gd name="connsiteY435" fmla="*/ 759121 h 6858000"/>
              <a:gd name="connsiteX436" fmla="*/ 11615498 w 12192000"/>
              <a:gd name="connsiteY436" fmla="*/ 749230 h 6858000"/>
              <a:gd name="connsiteX437" fmla="*/ 11611373 w 12192000"/>
              <a:gd name="connsiteY437" fmla="*/ 741529 h 6858000"/>
              <a:gd name="connsiteX438" fmla="*/ 11604585 w 12192000"/>
              <a:gd name="connsiteY438" fmla="*/ 736528 h 6858000"/>
              <a:gd name="connsiteX439" fmla="*/ 11595241 w 12192000"/>
              <a:gd name="connsiteY439" fmla="*/ 734740 h 6858000"/>
              <a:gd name="connsiteX440" fmla="*/ 11584657 w 12192000"/>
              <a:gd name="connsiteY440" fmla="*/ 736930 h 6858000"/>
              <a:gd name="connsiteX441" fmla="*/ 11576371 w 12192000"/>
              <a:gd name="connsiteY441" fmla="*/ 742624 h 6858000"/>
              <a:gd name="connsiteX442" fmla="*/ 11576371 w 12192000"/>
              <a:gd name="connsiteY442" fmla="*/ 706855 h 6858000"/>
              <a:gd name="connsiteX443" fmla="*/ 11321539 w 12192000"/>
              <a:gd name="connsiteY443" fmla="*/ 434247 h 6858000"/>
              <a:gd name="connsiteX444" fmla="*/ 11348438 w 12192000"/>
              <a:gd name="connsiteY444" fmla="*/ 434247 h 6858000"/>
              <a:gd name="connsiteX445" fmla="*/ 11348438 w 12192000"/>
              <a:gd name="connsiteY445" fmla="*/ 438846 h 6858000"/>
              <a:gd name="connsiteX446" fmla="*/ 11333730 w 12192000"/>
              <a:gd name="connsiteY446" fmla="*/ 494871 h 6858000"/>
              <a:gd name="connsiteX447" fmla="*/ 11292340 w 12192000"/>
              <a:gd name="connsiteY447" fmla="*/ 514909 h 6858000"/>
              <a:gd name="connsiteX448" fmla="*/ 11264273 w 12192000"/>
              <a:gd name="connsiteY448" fmla="*/ 504616 h 6858000"/>
              <a:gd name="connsiteX449" fmla="*/ 11253907 w 12192000"/>
              <a:gd name="connsiteY449" fmla="*/ 476877 h 6858000"/>
              <a:gd name="connsiteX450" fmla="*/ 11268872 w 12192000"/>
              <a:gd name="connsiteY450" fmla="*/ 443883 h 6858000"/>
              <a:gd name="connsiteX451" fmla="*/ 11321539 w 12192000"/>
              <a:gd name="connsiteY451" fmla="*/ 434247 h 6858000"/>
              <a:gd name="connsiteX452" fmla="*/ 11301684 w 12192000"/>
              <a:gd name="connsiteY452" fmla="*/ 291866 h 6858000"/>
              <a:gd name="connsiteX453" fmla="*/ 11253068 w 12192000"/>
              <a:gd name="connsiteY453" fmla="*/ 296209 h 6858000"/>
              <a:gd name="connsiteX454" fmla="*/ 11207882 w 12192000"/>
              <a:gd name="connsiteY454" fmla="*/ 309750 h 6858000"/>
              <a:gd name="connsiteX455" fmla="*/ 11207882 w 12192000"/>
              <a:gd name="connsiteY455" fmla="*/ 367053 h 6858000"/>
              <a:gd name="connsiteX456" fmla="*/ 11255039 w 12192000"/>
              <a:gd name="connsiteY456" fmla="*/ 347599 h 6858000"/>
              <a:gd name="connsiteX457" fmla="*/ 11301720 w 12192000"/>
              <a:gd name="connsiteY457" fmla="*/ 341504 h 6858000"/>
              <a:gd name="connsiteX458" fmla="*/ 11336576 w 12192000"/>
              <a:gd name="connsiteY458" fmla="*/ 349899 h 6858000"/>
              <a:gd name="connsiteX459" fmla="*/ 11348438 w 12192000"/>
              <a:gd name="connsiteY459" fmla="*/ 374572 h 6858000"/>
              <a:gd name="connsiteX460" fmla="*/ 11348438 w 12192000"/>
              <a:gd name="connsiteY460" fmla="*/ 385667 h 6858000"/>
              <a:gd name="connsiteX461" fmla="*/ 11301757 w 12192000"/>
              <a:gd name="connsiteY461" fmla="*/ 385667 h 6858000"/>
              <a:gd name="connsiteX462" fmla="*/ 11211532 w 12192000"/>
              <a:gd name="connsiteY462" fmla="*/ 407128 h 6858000"/>
              <a:gd name="connsiteX463" fmla="*/ 11182370 w 12192000"/>
              <a:gd name="connsiteY463" fmla="*/ 473629 h 6858000"/>
              <a:gd name="connsiteX464" fmla="*/ 11206824 w 12192000"/>
              <a:gd name="connsiteY464" fmla="*/ 538414 h 6858000"/>
              <a:gd name="connsiteX465" fmla="*/ 11275149 w 12192000"/>
              <a:gd name="connsiteY465" fmla="*/ 561590 h 6858000"/>
              <a:gd name="connsiteX466" fmla="*/ 11317196 w 12192000"/>
              <a:gd name="connsiteY466" fmla="*/ 552393 h 6858000"/>
              <a:gd name="connsiteX467" fmla="*/ 11348438 w 12192000"/>
              <a:gd name="connsiteY467" fmla="*/ 526187 h 6858000"/>
              <a:gd name="connsiteX468" fmla="*/ 11348438 w 12192000"/>
              <a:gd name="connsiteY468" fmla="*/ 555021 h 6858000"/>
              <a:gd name="connsiteX469" fmla="*/ 11415231 w 12192000"/>
              <a:gd name="connsiteY469" fmla="*/ 555021 h 6858000"/>
              <a:gd name="connsiteX470" fmla="*/ 11415231 w 12192000"/>
              <a:gd name="connsiteY470" fmla="*/ 408223 h 6858000"/>
              <a:gd name="connsiteX471" fmla="*/ 11389791 w 12192000"/>
              <a:gd name="connsiteY471" fmla="*/ 317306 h 6858000"/>
              <a:gd name="connsiteX472" fmla="*/ 11301684 w 12192000"/>
              <a:gd name="connsiteY472" fmla="*/ 291866 h 6858000"/>
              <a:gd name="connsiteX473" fmla="*/ 11492899 w 12192000"/>
              <a:gd name="connsiteY473" fmla="*/ 225110 h 6858000"/>
              <a:gd name="connsiteX474" fmla="*/ 11492899 w 12192000"/>
              <a:gd name="connsiteY474" fmla="*/ 298107 h 6858000"/>
              <a:gd name="connsiteX475" fmla="*/ 11427202 w 12192000"/>
              <a:gd name="connsiteY475" fmla="*/ 298107 h 6858000"/>
              <a:gd name="connsiteX476" fmla="*/ 11427202 w 12192000"/>
              <a:gd name="connsiteY476" fmla="*/ 349935 h 6858000"/>
              <a:gd name="connsiteX477" fmla="*/ 11492899 w 12192000"/>
              <a:gd name="connsiteY477" fmla="*/ 349935 h 6858000"/>
              <a:gd name="connsiteX478" fmla="*/ 11492899 w 12192000"/>
              <a:gd name="connsiteY478" fmla="*/ 467971 h 6858000"/>
              <a:gd name="connsiteX479" fmla="*/ 11513302 w 12192000"/>
              <a:gd name="connsiteY479" fmla="*/ 536552 h 6858000"/>
              <a:gd name="connsiteX480" fmla="*/ 11591518 w 12192000"/>
              <a:gd name="connsiteY480" fmla="*/ 555057 h 6858000"/>
              <a:gd name="connsiteX481" fmla="*/ 11648018 w 12192000"/>
              <a:gd name="connsiteY481" fmla="*/ 555057 h 6858000"/>
              <a:gd name="connsiteX482" fmla="*/ 11648018 w 12192000"/>
              <a:gd name="connsiteY482" fmla="*/ 503229 h 6858000"/>
              <a:gd name="connsiteX483" fmla="*/ 11596336 w 12192000"/>
              <a:gd name="connsiteY483" fmla="*/ 503229 h 6858000"/>
              <a:gd name="connsiteX484" fmla="*/ 11568415 w 12192000"/>
              <a:gd name="connsiteY484" fmla="*/ 495783 h 6858000"/>
              <a:gd name="connsiteX485" fmla="*/ 11560020 w 12192000"/>
              <a:gd name="connsiteY485" fmla="*/ 471183 h 6858000"/>
              <a:gd name="connsiteX486" fmla="*/ 11560020 w 12192000"/>
              <a:gd name="connsiteY486" fmla="*/ 349935 h 6858000"/>
              <a:gd name="connsiteX487" fmla="*/ 11647982 w 12192000"/>
              <a:gd name="connsiteY487" fmla="*/ 349935 h 6858000"/>
              <a:gd name="connsiteX488" fmla="*/ 11647982 w 12192000"/>
              <a:gd name="connsiteY488" fmla="*/ 298107 h 6858000"/>
              <a:gd name="connsiteX489" fmla="*/ 11560020 w 12192000"/>
              <a:gd name="connsiteY489" fmla="*/ 298107 h 6858000"/>
              <a:gd name="connsiteX490" fmla="*/ 11560020 w 12192000"/>
              <a:gd name="connsiteY490" fmla="*/ 225110 h 6858000"/>
              <a:gd name="connsiteX491" fmla="*/ 11773427 w 12192000"/>
              <a:gd name="connsiteY491" fmla="*/ 198101 h 6858000"/>
              <a:gd name="connsiteX492" fmla="*/ 11773427 w 12192000"/>
              <a:gd name="connsiteY492" fmla="*/ 241534 h 6858000"/>
              <a:gd name="connsiteX493" fmla="*/ 11828905 w 12192000"/>
              <a:gd name="connsiteY493" fmla="*/ 241534 h 6858000"/>
              <a:gd name="connsiteX494" fmla="*/ 11828905 w 12192000"/>
              <a:gd name="connsiteY494" fmla="*/ 573671 h 6858000"/>
              <a:gd name="connsiteX495" fmla="*/ 11773427 w 12192000"/>
              <a:gd name="connsiteY495" fmla="*/ 573671 h 6858000"/>
              <a:gd name="connsiteX496" fmla="*/ 11773427 w 12192000"/>
              <a:gd name="connsiteY496" fmla="*/ 617105 h 6858000"/>
              <a:gd name="connsiteX497" fmla="*/ 11889857 w 12192000"/>
              <a:gd name="connsiteY497" fmla="*/ 617105 h 6858000"/>
              <a:gd name="connsiteX498" fmla="*/ 11889857 w 12192000"/>
              <a:gd name="connsiteY498" fmla="*/ 198101 h 6858000"/>
              <a:gd name="connsiteX499" fmla="*/ 10990132 w 12192000"/>
              <a:gd name="connsiteY499" fmla="*/ 197736 h 6858000"/>
              <a:gd name="connsiteX500" fmla="*/ 10990132 w 12192000"/>
              <a:gd name="connsiteY500" fmla="*/ 617105 h 6858000"/>
              <a:gd name="connsiteX501" fmla="*/ 11106635 w 12192000"/>
              <a:gd name="connsiteY501" fmla="*/ 617105 h 6858000"/>
              <a:gd name="connsiteX502" fmla="*/ 11106635 w 12192000"/>
              <a:gd name="connsiteY502" fmla="*/ 573671 h 6858000"/>
              <a:gd name="connsiteX503" fmla="*/ 11051085 w 12192000"/>
              <a:gd name="connsiteY503" fmla="*/ 573671 h 6858000"/>
              <a:gd name="connsiteX504" fmla="*/ 11051085 w 12192000"/>
              <a:gd name="connsiteY504" fmla="*/ 241169 h 6858000"/>
              <a:gd name="connsiteX505" fmla="*/ 11106635 w 12192000"/>
              <a:gd name="connsiteY505" fmla="*/ 241169 h 6858000"/>
              <a:gd name="connsiteX506" fmla="*/ 11106635 w 12192000"/>
              <a:gd name="connsiteY506" fmla="*/ 197736 h 6858000"/>
              <a:gd name="connsiteX507" fmla="*/ 0 w 12192000"/>
              <a:gd name="connsiteY507" fmla="*/ 0 h 6858000"/>
              <a:gd name="connsiteX508" fmla="*/ 12192000 w 12192000"/>
              <a:gd name="connsiteY508" fmla="*/ 0 h 6858000"/>
              <a:gd name="connsiteX509" fmla="*/ 12192000 w 12192000"/>
              <a:gd name="connsiteY509" fmla="*/ 6858000 h 6858000"/>
              <a:gd name="connsiteX510" fmla="*/ 0 w 12192000"/>
              <a:gd name="connsiteY5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</a:cxnLst>
            <a:rect l="l" t="t" r="r" b="b"/>
            <a:pathLst>
              <a:path w="12192000" h="6858000">
                <a:moveTo>
                  <a:pt x="11665610" y="772625"/>
                </a:moveTo>
                <a:lnTo>
                  <a:pt x="11665610" y="783465"/>
                </a:lnTo>
                <a:cubicBezTo>
                  <a:pt x="11663421" y="785837"/>
                  <a:pt x="11661158" y="787553"/>
                  <a:pt x="11658822" y="788721"/>
                </a:cubicBezTo>
                <a:cubicBezTo>
                  <a:pt x="11656486" y="789852"/>
                  <a:pt x="11653748" y="790436"/>
                  <a:pt x="11650573" y="790436"/>
                </a:cubicBezTo>
                <a:cubicBezTo>
                  <a:pt x="11647982" y="790436"/>
                  <a:pt x="11645865" y="789852"/>
                  <a:pt x="11644259" y="788684"/>
                </a:cubicBezTo>
                <a:cubicBezTo>
                  <a:pt x="11642653" y="787516"/>
                  <a:pt x="11641850" y="785545"/>
                  <a:pt x="11641850" y="782845"/>
                </a:cubicBezTo>
                <a:cubicBezTo>
                  <a:pt x="11641850" y="781458"/>
                  <a:pt x="11642251" y="780180"/>
                  <a:pt x="11643054" y="779012"/>
                </a:cubicBezTo>
                <a:cubicBezTo>
                  <a:pt x="11643821" y="777844"/>
                  <a:pt x="11645171" y="776822"/>
                  <a:pt x="11646996" y="775946"/>
                </a:cubicBezTo>
                <a:cubicBezTo>
                  <a:pt x="11648821" y="775070"/>
                  <a:pt x="11651266" y="774340"/>
                  <a:pt x="11654332" y="773793"/>
                </a:cubicBezTo>
                <a:cubicBezTo>
                  <a:pt x="11657362" y="773209"/>
                  <a:pt x="11661121" y="772844"/>
                  <a:pt x="11665610" y="772625"/>
                </a:cubicBezTo>
                <a:close/>
                <a:moveTo>
                  <a:pt x="11244271" y="769924"/>
                </a:moveTo>
                <a:lnTo>
                  <a:pt x="11244308" y="769924"/>
                </a:lnTo>
                <a:lnTo>
                  <a:pt x="11244308" y="786276"/>
                </a:lnTo>
                <a:cubicBezTo>
                  <a:pt x="11242848" y="787772"/>
                  <a:pt x="11241352" y="789195"/>
                  <a:pt x="11239855" y="790473"/>
                </a:cubicBezTo>
                <a:cubicBezTo>
                  <a:pt x="11238359" y="791787"/>
                  <a:pt x="11236753" y="792882"/>
                  <a:pt x="11235001" y="793831"/>
                </a:cubicBezTo>
                <a:cubicBezTo>
                  <a:pt x="11233249" y="794780"/>
                  <a:pt x="11231387" y="795510"/>
                  <a:pt x="11229344" y="796021"/>
                </a:cubicBezTo>
                <a:cubicBezTo>
                  <a:pt x="11227300" y="796532"/>
                  <a:pt x="11225073" y="796787"/>
                  <a:pt x="11222664" y="796787"/>
                </a:cubicBezTo>
                <a:cubicBezTo>
                  <a:pt x="11221022" y="796787"/>
                  <a:pt x="11219452" y="796568"/>
                  <a:pt x="11217956" y="796094"/>
                </a:cubicBezTo>
                <a:cubicBezTo>
                  <a:pt x="11216460" y="795656"/>
                  <a:pt x="11215109" y="794926"/>
                  <a:pt x="11213978" y="793940"/>
                </a:cubicBezTo>
                <a:cubicBezTo>
                  <a:pt x="11212810" y="792955"/>
                  <a:pt x="11211897" y="791714"/>
                  <a:pt x="11211204" y="790181"/>
                </a:cubicBezTo>
                <a:cubicBezTo>
                  <a:pt x="11210510" y="788648"/>
                  <a:pt x="11210182" y="786823"/>
                  <a:pt x="11210182" y="784743"/>
                </a:cubicBezTo>
                <a:cubicBezTo>
                  <a:pt x="11210182" y="782553"/>
                  <a:pt x="11210839" y="780582"/>
                  <a:pt x="11212189" y="778830"/>
                </a:cubicBezTo>
                <a:cubicBezTo>
                  <a:pt x="11213503" y="777078"/>
                  <a:pt x="11215584" y="775581"/>
                  <a:pt x="11218357" y="774341"/>
                </a:cubicBezTo>
                <a:cubicBezTo>
                  <a:pt x="11221131" y="773063"/>
                  <a:pt x="11224672" y="772078"/>
                  <a:pt x="11228942" y="771348"/>
                </a:cubicBezTo>
                <a:cubicBezTo>
                  <a:pt x="11233212" y="770618"/>
                  <a:pt x="11238322" y="770143"/>
                  <a:pt x="11244271" y="769924"/>
                </a:cubicBezTo>
                <a:close/>
                <a:moveTo>
                  <a:pt x="11032215" y="769924"/>
                </a:moveTo>
                <a:lnTo>
                  <a:pt x="11032251" y="769924"/>
                </a:lnTo>
                <a:lnTo>
                  <a:pt x="11032251" y="786276"/>
                </a:lnTo>
                <a:cubicBezTo>
                  <a:pt x="11030791" y="787772"/>
                  <a:pt x="11029295" y="789195"/>
                  <a:pt x="11027799" y="790473"/>
                </a:cubicBezTo>
                <a:cubicBezTo>
                  <a:pt x="11026302" y="791787"/>
                  <a:pt x="11024696" y="792882"/>
                  <a:pt x="11022944" y="793831"/>
                </a:cubicBezTo>
                <a:cubicBezTo>
                  <a:pt x="11021192" y="794780"/>
                  <a:pt x="11019331" y="795510"/>
                  <a:pt x="11017287" y="796021"/>
                </a:cubicBezTo>
                <a:cubicBezTo>
                  <a:pt x="11015243" y="796532"/>
                  <a:pt x="11013017" y="796787"/>
                  <a:pt x="11010608" y="796787"/>
                </a:cubicBezTo>
                <a:cubicBezTo>
                  <a:pt x="11008965" y="796787"/>
                  <a:pt x="11007396" y="796568"/>
                  <a:pt x="11005899" y="796094"/>
                </a:cubicBezTo>
                <a:cubicBezTo>
                  <a:pt x="11004403" y="795656"/>
                  <a:pt x="11003053" y="794926"/>
                  <a:pt x="11001921" y="793940"/>
                </a:cubicBezTo>
                <a:cubicBezTo>
                  <a:pt x="11000753" y="792955"/>
                  <a:pt x="10999841" y="791714"/>
                  <a:pt x="10999147" y="790181"/>
                </a:cubicBezTo>
                <a:cubicBezTo>
                  <a:pt x="10998454" y="788648"/>
                  <a:pt x="10998125" y="786823"/>
                  <a:pt x="10998125" y="784743"/>
                </a:cubicBezTo>
                <a:cubicBezTo>
                  <a:pt x="10998125" y="782553"/>
                  <a:pt x="10998782" y="780582"/>
                  <a:pt x="11000133" y="778830"/>
                </a:cubicBezTo>
                <a:cubicBezTo>
                  <a:pt x="11001447" y="777078"/>
                  <a:pt x="11003527" y="775581"/>
                  <a:pt x="11006301" y="774341"/>
                </a:cubicBezTo>
                <a:cubicBezTo>
                  <a:pt x="11009075" y="773063"/>
                  <a:pt x="11012615" y="772078"/>
                  <a:pt x="11016886" y="771348"/>
                </a:cubicBezTo>
                <a:cubicBezTo>
                  <a:pt x="11021156" y="770618"/>
                  <a:pt x="11026266" y="770143"/>
                  <a:pt x="11032215" y="769924"/>
                </a:cubicBezTo>
                <a:close/>
                <a:moveTo>
                  <a:pt x="11363804" y="741310"/>
                </a:moveTo>
                <a:cubicBezTo>
                  <a:pt x="11367527" y="741310"/>
                  <a:pt x="11370812" y="742040"/>
                  <a:pt x="11373731" y="743500"/>
                </a:cubicBezTo>
                <a:cubicBezTo>
                  <a:pt x="11376615" y="744960"/>
                  <a:pt x="11379279" y="747478"/>
                  <a:pt x="11381652" y="751091"/>
                </a:cubicBezTo>
                <a:lnTo>
                  <a:pt x="11381688" y="751091"/>
                </a:lnTo>
                <a:lnTo>
                  <a:pt x="11381688" y="783904"/>
                </a:lnTo>
                <a:cubicBezTo>
                  <a:pt x="11379097" y="787772"/>
                  <a:pt x="11376104" y="790765"/>
                  <a:pt x="11372710" y="792882"/>
                </a:cubicBezTo>
                <a:cubicBezTo>
                  <a:pt x="11369315" y="795036"/>
                  <a:pt x="11365556" y="796094"/>
                  <a:pt x="11361468" y="796094"/>
                </a:cubicBezTo>
                <a:cubicBezTo>
                  <a:pt x="11355008" y="796094"/>
                  <a:pt x="11350080" y="793904"/>
                  <a:pt x="11346686" y="789524"/>
                </a:cubicBezTo>
                <a:cubicBezTo>
                  <a:pt x="11343292" y="785144"/>
                  <a:pt x="11341576" y="778319"/>
                  <a:pt x="11341576" y="769049"/>
                </a:cubicBezTo>
                <a:cubicBezTo>
                  <a:pt x="11341576" y="764961"/>
                  <a:pt x="11342051" y="761201"/>
                  <a:pt x="11343000" y="757807"/>
                </a:cubicBezTo>
                <a:cubicBezTo>
                  <a:pt x="11343949" y="754376"/>
                  <a:pt x="11345336" y="751456"/>
                  <a:pt x="11347197" y="749011"/>
                </a:cubicBezTo>
                <a:cubicBezTo>
                  <a:pt x="11349058" y="746565"/>
                  <a:pt x="11351358" y="744668"/>
                  <a:pt x="11354132" y="743317"/>
                </a:cubicBezTo>
                <a:cubicBezTo>
                  <a:pt x="11356906" y="741967"/>
                  <a:pt x="11360118" y="741310"/>
                  <a:pt x="11363804" y="741310"/>
                </a:cubicBezTo>
                <a:close/>
                <a:moveTo>
                  <a:pt x="11432604" y="741126"/>
                </a:moveTo>
                <a:cubicBezTo>
                  <a:pt x="11435451" y="741126"/>
                  <a:pt x="11438042" y="741601"/>
                  <a:pt x="11440415" y="742586"/>
                </a:cubicBezTo>
                <a:cubicBezTo>
                  <a:pt x="11442787" y="743572"/>
                  <a:pt x="11444831" y="744995"/>
                  <a:pt x="11446546" y="746820"/>
                </a:cubicBezTo>
                <a:cubicBezTo>
                  <a:pt x="11448262" y="748682"/>
                  <a:pt x="11449576" y="750908"/>
                  <a:pt x="11450525" y="753572"/>
                </a:cubicBezTo>
                <a:cubicBezTo>
                  <a:pt x="11451474" y="756237"/>
                  <a:pt x="11451948" y="759230"/>
                  <a:pt x="11451948" y="762587"/>
                </a:cubicBezTo>
                <a:lnTo>
                  <a:pt x="11410595" y="762587"/>
                </a:lnTo>
                <a:cubicBezTo>
                  <a:pt x="11410960" y="759339"/>
                  <a:pt x="11411727" y="756383"/>
                  <a:pt x="11412858" y="753755"/>
                </a:cubicBezTo>
                <a:cubicBezTo>
                  <a:pt x="11413990" y="751090"/>
                  <a:pt x="11415486" y="748864"/>
                  <a:pt x="11417347" y="746966"/>
                </a:cubicBezTo>
                <a:cubicBezTo>
                  <a:pt x="11419209" y="745068"/>
                  <a:pt x="11421399" y="743645"/>
                  <a:pt x="11423954" y="742623"/>
                </a:cubicBezTo>
                <a:cubicBezTo>
                  <a:pt x="11426509" y="741637"/>
                  <a:pt x="11429392" y="741126"/>
                  <a:pt x="11432604" y="741126"/>
                </a:cubicBezTo>
                <a:close/>
                <a:moveTo>
                  <a:pt x="11110139" y="741126"/>
                </a:moveTo>
                <a:cubicBezTo>
                  <a:pt x="11112986" y="741126"/>
                  <a:pt x="11115577" y="741601"/>
                  <a:pt x="11117950" y="742586"/>
                </a:cubicBezTo>
                <a:cubicBezTo>
                  <a:pt x="11120322" y="743572"/>
                  <a:pt x="11122366" y="744995"/>
                  <a:pt x="11124081" y="746820"/>
                </a:cubicBezTo>
                <a:cubicBezTo>
                  <a:pt x="11125797" y="748682"/>
                  <a:pt x="11127111" y="750908"/>
                  <a:pt x="11128060" y="753572"/>
                </a:cubicBezTo>
                <a:cubicBezTo>
                  <a:pt x="11129009" y="756237"/>
                  <a:pt x="11129483" y="759230"/>
                  <a:pt x="11129483" y="762587"/>
                </a:cubicBezTo>
                <a:lnTo>
                  <a:pt x="11088130" y="762587"/>
                </a:lnTo>
                <a:cubicBezTo>
                  <a:pt x="11088495" y="759339"/>
                  <a:pt x="11089262" y="756383"/>
                  <a:pt x="11090393" y="753755"/>
                </a:cubicBezTo>
                <a:cubicBezTo>
                  <a:pt x="11091525" y="751090"/>
                  <a:pt x="11093021" y="748864"/>
                  <a:pt x="11094882" y="746966"/>
                </a:cubicBezTo>
                <a:cubicBezTo>
                  <a:pt x="11096744" y="745068"/>
                  <a:pt x="11098934" y="743645"/>
                  <a:pt x="11101489" y="742623"/>
                </a:cubicBezTo>
                <a:cubicBezTo>
                  <a:pt x="11104044" y="741637"/>
                  <a:pt x="11106927" y="741126"/>
                  <a:pt x="11110139" y="741126"/>
                </a:cubicBezTo>
                <a:close/>
                <a:moveTo>
                  <a:pt x="11143791" y="737659"/>
                </a:moveTo>
                <a:lnTo>
                  <a:pt x="11165617" y="768135"/>
                </a:lnTo>
                <a:lnTo>
                  <a:pt x="11142915" y="800072"/>
                </a:lnTo>
                <a:lnTo>
                  <a:pt x="11148317" y="800072"/>
                </a:lnTo>
                <a:cubicBezTo>
                  <a:pt x="11148828" y="800072"/>
                  <a:pt x="11149229" y="799889"/>
                  <a:pt x="11149558" y="799561"/>
                </a:cubicBezTo>
                <a:cubicBezTo>
                  <a:pt x="11149886" y="799232"/>
                  <a:pt x="11150178" y="798867"/>
                  <a:pt x="11150470" y="798502"/>
                </a:cubicBezTo>
                <a:lnTo>
                  <a:pt x="11168537" y="773026"/>
                </a:lnTo>
                <a:cubicBezTo>
                  <a:pt x="11169011" y="772333"/>
                  <a:pt x="11169303" y="771603"/>
                  <a:pt x="11169486" y="770836"/>
                </a:cubicBezTo>
                <a:lnTo>
                  <a:pt x="11188429" y="798502"/>
                </a:lnTo>
                <a:cubicBezTo>
                  <a:pt x="11188611" y="798831"/>
                  <a:pt x="11188903" y="799159"/>
                  <a:pt x="11189232" y="799524"/>
                </a:cubicBezTo>
                <a:cubicBezTo>
                  <a:pt x="11189560" y="799889"/>
                  <a:pt x="11190035" y="800072"/>
                  <a:pt x="11190619" y="800072"/>
                </a:cubicBezTo>
                <a:lnTo>
                  <a:pt x="11196312" y="800072"/>
                </a:lnTo>
                <a:lnTo>
                  <a:pt x="11173647" y="767770"/>
                </a:lnTo>
                <a:lnTo>
                  <a:pt x="11195400" y="737659"/>
                </a:lnTo>
                <a:lnTo>
                  <a:pt x="11189925" y="737659"/>
                </a:lnTo>
                <a:cubicBezTo>
                  <a:pt x="11189451" y="737659"/>
                  <a:pt x="11189086" y="737768"/>
                  <a:pt x="11188794" y="738024"/>
                </a:cubicBezTo>
                <a:cubicBezTo>
                  <a:pt x="11188502" y="738279"/>
                  <a:pt x="11188246" y="738608"/>
                  <a:pt x="11187991" y="738973"/>
                </a:cubicBezTo>
                <a:lnTo>
                  <a:pt x="11170873" y="763135"/>
                </a:lnTo>
                <a:cubicBezTo>
                  <a:pt x="11170690" y="763500"/>
                  <a:pt x="11170471" y="763901"/>
                  <a:pt x="11170289" y="764266"/>
                </a:cubicBezTo>
                <a:cubicBezTo>
                  <a:pt x="11170106" y="764631"/>
                  <a:pt x="11169960" y="764996"/>
                  <a:pt x="11169887" y="765325"/>
                </a:cubicBezTo>
                <a:lnTo>
                  <a:pt x="11151565" y="738900"/>
                </a:lnTo>
                <a:cubicBezTo>
                  <a:pt x="11151346" y="738571"/>
                  <a:pt x="11151091" y="738279"/>
                  <a:pt x="11150799" y="738024"/>
                </a:cubicBezTo>
                <a:cubicBezTo>
                  <a:pt x="11150507" y="737768"/>
                  <a:pt x="11150069" y="737659"/>
                  <a:pt x="11149485" y="737659"/>
                </a:cubicBezTo>
                <a:close/>
                <a:moveTo>
                  <a:pt x="11432494" y="736710"/>
                </a:moveTo>
                <a:cubicBezTo>
                  <a:pt x="11428042" y="736710"/>
                  <a:pt x="11424100" y="737513"/>
                  <a:pt x="11420596" y="739046"/>
                </a:cubicBezTo>
                <a:cubicBezTo>
                  <a:pt x="11417128" y="740579"/>
                  <a:pt x="11414172" y="742732"/>
                  <a:pt x="11411763" y="745470"/>
                </a:cubicBezTo>
                <a:cubicBezTo>
                  <a:pt x="11409354" y="748207"/>
                  <a:pt x="11407529" y="751455"/>
                  <a:pt x="11406252" y="755251"/>
                </a:cubicBezTo>
                <a:cubicBezTo>
                  <a:pt x="11404974" y="759011"/>
                  <a:pt x="11404354" y="763135"/>
                  <a:pt x="11404354" y="767624"/>
                </a:cubicBezTo>
                <a:cubicBezTo>
                  <a:pt x="11404354" y="772953"/>
                  <a:pt x="11405047" y="777661"/>
                  <a:pt x="11406398" y="781786"/>
                </a:cubicBezTo>
                <a:cubicBezTo>
                  <a:pt x="11407748" y="785910"/>
                  <a:pt x="11409683" y="789377"/>
                  <a:pt x="11412201" y="792224"/>
                </a:cubicBezTo>
                <a:cubicBezTo>
                  <a:pt x="11414683" y="795071"/>
                  <a:pt x="11417676" y="797225"/>
                  <a:pt x="11421216" y="798721"/>
                </a:cubicBezTo>
                <a:cubicBezTo>
                  <a:pt x="11424757" y="800218"/>
                  <a:pt x="11428626" y="800947"/>
                  <a:pt x="11432896" y="800947"/>
                </a:cubicBezTo>
                <a:cubicBezTo>
                  <a:pt x="11435268" y="800947"/>
                  <a:pt x="11437568" y="800728"/>
                  <a:pt x="11439904" y="800254"/>
                </a:cubicBezTo>
                <a:cubicBezTo>
                  <a:pt x="11442239" y="799780"/>
                  <a:pt x="11444393" y="799159"/>
                  <a:pt x="11446437" y="798393"/>
                </a:cubicBezTo>
                <a:cubicBezTo>
                  <a:pt x="11448444" y="797626"/>
                  <a:pt x="11450306" y="796714"/>
                  <a:pt x="11451948" y="795619"/>
                </a:cubicBezTo>
                <a:cubicBezTo>
                  <a:pt x="11453591" y="794524"/>
                  <a:pt x="11454904" y="793356"/>
                  <a:pt x="11455926" y="792115"/>
                </a:cubicBezTo>
                <a:lnTo>
                  <a:pt x="11454284" y="790107"/>
                </a:lnTo>
                <a:cubicBezTo>
                  <a:pt x="11453992" y="789706"/>
                  <a:pt x="11453591" y="789487"/>
                  <a:pt x="11453043" y="789487"/>
                </a:cubicBezTo>
                <a:cubicBezTo>
                  <a:pt x="11452642" y="789487"/>
                  <a:pt x="11451948" y="789815"/>
                  <a:pt x="11451036" y="790509"/>
                </a:cubicBezTo>
                <a:cubicBezTo>
                  <a:pt x="11450123" y="791202"/>
                  <a:pt x="11448882" y="792005"/>
                  <a:pt x="11447313" y="792845"/>
                </a:cubicBezTo>
                <a:cubicBezTo>
                  <a:pt x="11445743" y="793721"/>
                  <a:pt x="11443809" y="794487"/>
                  <a:pt x="11441510" y="795181"/>
                </a:cubicBezTo>
                <a:cubicBezTo>
                  <a:pt x="11439210" y="795874"/>
                  <a:pt x="11436509" y="796203"/>
                  <a:pt x="11433370" y="796203"/>
                </a:cubicBezTo>
                <a:cubicBezTo>
                  <a:pt x="11429866" y="796203"/>
                  <a:pt x="11426691" y="795582"/>
                  <a:pt x="11423844" y="794378"/>
                </a:cubicBezTo>
                <a:cubicBezTo>
                  <a:pt x="11420997" y="793137"/>
                  <a:pt x="11418588" y="791348"/>
                  <a:pt x="11416581" y="788939"/>
                </a:cubicBezTo>
                <a:cubicBezTo>
                  <a:pt x="11414574" y="786531"/>
                  <a:pt x="11413041" y="783538"/>
                  <a:pt x="11411946" y="779997"/>
                </a:cubicBezTo>
                <a:cubicBezTo>
                  <a:pt x="11410851" y="776420"/>
                  <a:pt x="11410303" y="772296"/>
                  <a:pt x="11410303" y="767624"/>
                </a:cubicBezTo>
                <a:lnTo>
                  <a:pt x="11410303" y="766493"/>
                </a:lnTo>
                <a:lnTo>
                  <a:pt x="11455671" y="766493"/>
                </a:lnTo>
                <a:cubicBezTo>
                  <a:pt x="11456255" y="766493"/>
                  <a:pt x="11456656" y="766310"/>
                  <a:pt x="11456912" y="765982"/>
                </a:cubicBezTo>
                <a:cubicBezTo>
                  <a:pt x="11457167" y="765617"/>
                  <a:pt x="11457277" y="764996"/>
                  <a:pt x="11457277" y="764084"/>
                </a:cubicBezTo>
                <a:cubicBezTo>
                  <a:pt x="11457277" y="759668"/>
                  <a:pt x="11456656" y="755799"/>
                  <a:pt x="11455379" y="752404"/>
                </a:cubicBezTo>
                <a:cubicBezTo>
                  <a:pt x="11454102" y="749010"/>
                  <a:pt x="11452350" y="746163"/>
                  <a:pt x="11450123" y="743827"/>
                </a:cubicBezTo>
                <a:cubicBezTo>
                  <a:pt x="11447897" y="741528"/>
                  <a:pt x="11445269" y="739739"/>
                  <a:pt x="11442276" y="738535"/>
                </a:cubicBezTo>
                <a:cubicBezTo>
                  <a:pt x="11439283" y="737331"/>
                  <a:pt x="11435998" y="736710"/>
                  <a:pt x="11432494" y="736710"/>
                </a:cubicBezTo>
                <a:close/>
                <a:moveTo>
                  <a:pt x="11110029" y="736710"/>
                </a:moveTo>
                <a:cubicBezTo>
                  <a:pt x="11105577" y="736710"/>
                  <a:pt x="11101635" y="737513"/>
                  <a:pt x="11098131" y="739046"/>
                </a:cubicBezTo>
                <a:cubicBezTo>
                  <a:pt x="11094663" y="740579"/>
                  <a:pt x="11091707" y="742732"/>
                  <a:pt x="11089298" y="745470"/>
                </a:cubicBezTo>
                <a:cubicBezTo>
                  <a:pt x="11086889" y="748207"/>
                  <a:pt x="11085064" y="751455"/>
                  <a:pt x="11083787" y="755251"/>
                </a:cubicBezTo>
                <a:cubicBezTo>
                  <a:pt x="11082509" y="759011"/>
                  <a:pt x="11081889" y="763135"/>
                  <a:pt x="11081889" y="767624"/>
                </a:cubicBezTo>
                <a:cubicBezTo>
                  <a:pt x="11081889" y="772953"/>
                  <a:pt x="11082582" y="777661"/>
                  <a:pt x="11083933" y="781786"/>
                </a:cubicBezTo>
                <a:cubicBezTo>
                  <a:pt x="11085283" y="785910"/>
                  <a:pt x="11087218" y="789377"/>
                  <a:pt x="11089736" y="792224"/>
                </a:cubicBezTo>
                <a:cubicBezTo>
                  <a:pt x="11092218" y="795071"/>
                  <a:pt x="11095247" y="797225"/>
                  <a:pt x="11098751" y="798721"/>
                </a:cubicBezTo>
                <a:cubicBezTo>
                  <a:pt x="11102292" y="800218"/>
                  <a:pt x="11106161" y="800947"/>
                  <a:pt x="11110431" y="800947"/>
                </a:cubicBezTo>
                <a:cubicBezTo>
                  <a:pt x="11112803" y="800947"/>
                  <a:pt x="11115103" y="800728"/>
                  <a:pt x="11117439" y="800254"/>
                </a:cubicBezTo>
                <a:cubicBezTo>
                  <a:pt x="11119774" y="799780"/>
                  <a:pt x="11121928" y="799159"/>
                  <a:pt x="11123972" y="798393"/>
                </a:cubicBezTo>
                <a:cubicBezTo>
                  <a:pt x="11125979" y="797626"/>
                  <a:pt x="11127841" y="796714"/>
                  <a:pt x="11129483" y="795619"/>
                </a:cubicBezTo>
                <a:cubicBezTo>
                  <a:pt x="11131126" y="794524"/>
                  <a:pt x="11132439" y="793356"/>
                  <a:pt x="11133461" y="792115"/>
                </a:cubicBezTo>
                <a:lnTo>
                  <a:pt x="11131819" y="790107"/>
                </a:lnTo>
                <a:cubicBezTo>
                  <a:pt x="11131527" y="789706"/>
                  <a:pt x="11131126" y="789487"/>
                  <a:pt x="11130578" y="789487"/>
                </a:cubicBezTo>
                <a:cubicBezTo>
                  <a:pt x="11130177" y="789487"/>
                  <a:pt x="11129483" y="789815"/>
                  <a:pt x="11128571" y="790509"/>
                </a:cubicBezTo>
                <a:cubicBezTo>
                  <a:pt x="11127658" y="791202"/>
                  <a:pt x="11126417" y="792005"/>
                  <a:pt x="11124848" y="792845"/>
                </a:cubicBezTo>
                <a:cubicBezTo>
                  <a:pt x="11123278" y="793721"/>
                  <a:pt x="11121344" y="794487"/>
                  <a:pt x="11119045" y="795181"/>
                </a:cubicBezTo>
                <a:cubicBezTo>
                  <a:pt x="11116745" y="795874"/>
                  <a:pt x="11114044" y="796203"/>
                  <a:pt x="11110905" y="796203"/>
                </a:cubicBezTo>
                <a:cubicBezTo>
                  <a:pt x="11107401" y="796203"/>
                  <a:pt x="11104226" y="795582"/>
                  <a:pt x="11101379" y="794378"/>
                </a:cubicBezTo>
                <a:cubicBezTo>
                  <a:pt x="11098532" y="793137"/>
                  <a:pt x="11096123" y="791348"/>
                  <a:pt x="11094116" y="788939"/>
                </a:cubicBezTo>
                <a:cubicBezTo>
                  <a:pt x="11092109" y="786531"/>
                  <a:pt x="11090576" y="783538"/>
                  <a:pt x="11089481" y="779997"/>
                </a:cubicBezTo>
                <a:cubicBezTo>
                  <a:pt x="11088386" y="776420"/>
                  <a:pt x="11087838" y="772296"/>
                  <a:pt x="11087838" y="767624"/>
                </a:cubicBezTo>
                <a:lnTo>
                  <a:pt x="11087838" y="766493"/>
                </a:lnTo>
                <a:lnTo>
                  <a:pt x="11133206" y="766493"/>
                </a:lnTo>
                <a:cubicBezTo>
                  <a:pt x="11133790" y="766493"/>
                  <a:pt x="11134191" y="766310"/>
                  <a:pt x="11134447" y="765982"/>
                </a:cubicBezTo>
                <a:cubicBezTo>
                  <a:pt x="11134702" y="765617"/>
                  <a:pt x="11134812" y="764996"/>
                  <a:pt x="11134812" y="764084"/>
                </a:cubicBezTo>
                <a:cubicBezTo>
                  <a:pt x="11134812" y="759668"/>
                  <a:pt x="11134191" y="755799"/>
                  <a:pt x="11132914" y="752404"/>
                </a:cubicBezTo>
                <a:cubicBezTo>
                  <a:pt x="11131637" y="749010"/>
                  <a:pt x="11129885" y="746163"/>
                  <a:pt x="11127658" y="743827"/>
                </a:cubicBezTo>
                <a:cubicBezTo>
                  <a:pt x="11125432" y="741528"/>
                  <a:pt x="11122804" y="739739"/>
                  <a:pt x="11119811" y="738535"/>
                </a:cubicBezTo>
                <a:cubicBezTo>
                  <a:pt x="11116818" y="737331"/>
                  <a:pt x="11113533" y="736710"/>
                  <a:pt x="11110029" y="736710"/>
                </a:cubicBezTo>
                <a:close/>
                <a:moveTo>
                  <a:pt x="11298399" y="736674"/>
                </a:moveTo>
                <a:cubicBezTo>
                  <a:pt x="11293764" y="736674"/>
                  <a:pt x="11289566" y="737732"/>
                  <a:pt x="11285770" y="739922"/>
                </a:cubicBezTo>
                <a:cubicBezTo>
                  <a:pt x="11281975" y="742076"/>
                  <a:pt x="11278653" y="744959"/>
                  <a:pt x="11275770" y="748573"/>
                </a:cubicBezTo>
                <a:lnTo>
                  <a:pt x="11275222" y="739265"/>
                </a:lnTo>
                <a:cubicBezTo>
                  <a:pt x="11275040" y="738207"/>
                  <a:pt x="11274456" y="737696"/>
                  <a:pt x="11273397" y="737696"/>
                </a:cubicBezTo>
                <a:lnTo>
                  <a:pt x="11270076" y="737696"/>
                </a:lnTo>
                <a:lnTo>
                  <a:pt x="11270076" y="800109"/>
                </a:lnTo>
                <a:lnTo>
                  <a:pt x="11276062" y="800109"/>
                </a:lnTo>
                <a:lnTo>
                  <a:pt x="11276062" y="753171"/>
                </a:lnTo>
                <a:cubicBezTo>
                  <a:pt x="11278836" y="749485"/>
                  <a:pt x="11281975" y="746638"/>
                  <a:pt x="11285515" y="744558"/>
                </a:cubicBezTo>
                <a:cubicBezTo>
                  <a:pt x="11289055" y="742477"/>
                  <a:pt x="11292851" y="741455"/>
                  <a:pt x="11296902" y="741455"/>
                </a:cubicBezTo>
                <a:cubicBezTo>
                  <a:pt x="11302377" y="741455"/>
                  <a:pt x="11306465" y="743134"/>
                  <a:pt x="11309129" y="746456"/>
                </a:cubicBezTo>
                <a:cubicBezTo>
                  <a:pt x="11311794" y="749777"/>
                  <a:pt x="11313144" y="754376"/>
                  <a:pt x="11313144" y="760216"/>
                </a:cubicBezTo>
                <a:lnTo>
                  <a:pt x="11313144" y="800109"/>
                </a:lnTo>
                <a:lnTo>
                  <a:pt x="11319167" y="800109"/>
                </a:lnTo>
                <a:lnTo>
                  <a:pt x="11319167" y="760216"/>
                </a:lnTo>
                <a:cubicBezTo>
                  <a:pt x="11319167" y="756566"/>
                  <a:pt x="11318765" y="753317"/>
                  <a:pt x="11317853" y="750434"/>
                </a:cubicBezTo>
                <a:cubicBezTo>
                  <a:pt x="11316940" y="747551"/>
                  <a:pt x="11315663" y="745069"/>
                  <a:pt x="11313947" y="743025"/>
                </a:cubicBezTo>
                <a:cubicBezTo>
                  <a:pt x="11312232" y="740981"/>
                  <a:pt x="11310078" y="739411"/>
                  <a:pt x="11307451" y="738316"/>
                </a:cubicBezTo>
                <a:cubicBezTo>
                  <a:pt x="11304859" y="737221"/>
                  <a:pt x="11301830" y="736674"/>
                  <a:pt x="11298399" y="736674"/>
                </a:cubicBezTo>
                <a:close/>
                <a:moveTo>
                  <a:pt x="11498886" y="736637"/>
                </a:moveTo>
                <a:cubicBezTo>
                  <a:pt x="11496477" y="736637"/>
                  <a:pt x="11494250" y="737002"/>
                  <a:pt x="11492279" y="737732"/>
                </a:cubicBezTo>
                <a:cubicBezTo>
                  <a:pt x="11490272" y="738462"/>
                  <a:pt x="11488483" y="739520"/>
                  <a:pt x="11486877" y="740907"/>
                </a:cubicBezTo>
                <a:cubicBezTo>
                  <a:pt x="11485272" y="742258"/>
                  <a:pt x="11483848" y="743973"/>
                  <a:pt x="11482607" y="745944"/>
                </a:cubicBezTo>
                <a:cubicBezTo>
                  <a:pt x="11481366" y="747915"/>
                  <a:pt x="11480271" y="750178"/>
                  <a:pt x="11479322" y="752733"/>
                </a:cubicBezTo>
                <a:lnTo>
                  <a:pt x="11478848" y="739666"/>
                </a:lnTo>
                <a:cubicBezTo>
                  <a:pt x="11478775" y="738973"/>
                  <a:pt x="11478592" y="738462"/>
                  <a:pt x="11478300" y="738170"/>
                </a:cubicBezTo>
                <a:cubicBezTo>
                  <a:pt x="11478008" y="737878"/>
                  <a:pt x="11477497" y="737732"/>
                  <a:pt x="11476804" y="737732"/>
                </a:cubicBezTo>
                <a:lnTo>
                  <a:pt x="11473592" y="737732"/>
                </a:lnTo>
                <a:lnTo>
                  <a:pt x="11473592" y="800145"/>
                </a:lnTo>
                <a:lnTo>
                  <a:pt x="11479614" y="800145"/>
                </a:lnTo>
                <a:lnTo>
                  <a:pt x="11479614" y="759741"/>
                </a:lnTo>
                <a:cubicBezTo>
                  <a:pt x="11480527" y="756930"/>
                  <a:pt x="11481549" y="754448"/>
                  <a:pt x="11482644" y="752295"/>
                </a:cubicBezTo>
                <a:cubicBezTo>
                  <a:pt x="11483775" y="750141"/>
                  <a:pt x="11485053" y="748317"/>
                  <a:pt x="11486549" y="746857"/>
                </a:cubicBezTo>
                <a:cubicBezTo>
                  <a:pt x="11488009" y="745397"/>
                  <a:pt x="11489688" y="744302"/>
                  <a:pt x="11491549" y="743572"/>
                </a:cubicBezTo>
                <a:cubicBezTo>
                  <a:pt x="11493411" y="742842"/>
                  <a:pt x="11495564" y="742477"/>
                  <a:pt x="11497973" y="742477"/>
                </a:cubicBezTo>
                <a:cubicBezTo>
                  <a:pt x="11499652" y="742477"/>
                  <a:pt x="11501002" y="742623"/>
                  <a:pt x="11502024" y="742915"/>
                </a:cubicBezTo>
                <a:cubicBezTo>
                  <a:pt x="11503046" y="743207"/>
                  <a:pt x="11503813" y="743353"/>
                  <a:pt x="11504324" y="743353"/>
                </a:cubicBezTo>
                <a:cubicBezTo>
                  <a:pt x="11504908" y="743353"/>
                  <a:pt x="11505309" y="742988"/>
                  <a:pt x="11505528" y="742331"/>
                </a:cubicBezTo>
                <a:lnTo>
                  <a:pt x="11506039" y="738206"/>
                </a:lnTo>
                <a:cubicBezTo>
                  <a:pt x="11505090" y="737586"/>
                  <a:pt x="11503959" y="737184"/>
                  <a:pt x="11502718" y="736965"/>
                </a:cubicBezTo>
                <a:cubicBezTo>
                  <a:pt x="11501440" y="736747"/>
                  <a:pt x="11500163" y="736637"/>
                  <a:pt x="11498886" y="736637"/>
                </a:cubicBezTo>
                <a:close/>
                <a:moveTo>
                  <a:pt x="11230110" y="736601"/>
                </a:moveTo>
                <a:cubicBezTo>
                  <a:pt x="11225548" y="736601"/>
                  <a:pt x="11221496" y="737440"/>
                  <a:pt x="11217883" y="739119"/>
                </a:cubicBezTo>
                <a:cubicBezTo>
                  <a:pt x="11214270" y="740798"/>
                  <a:pt x="11210839" y="743280"/>
                  <a:pt x="11207590" y="746529"/>
                </a:cubicBezTo>
                <a:lnTo>
                  <a:pt x="11208649" y="748354"/>
                </a:lnTo>
                <a:cubicBezTo>
                  <a:pt x="11208868" y="748682"/>
                  <a:pt x="11209123" y="748937"/>
                  <a:pt x="11209415" y="749157"/>
                </a:cubicBezTo>
                <a:cubicBezTo>
                  <a:pt x="11209707" y="749375"/>
                  <a:pt x="11210072" y="749485"/>
                  <a:pt x="11210547" y="749485"/>
                </a:cubicBezTo>
                <a:cubicBezTo>
                  <a:pt x="11211204" y="749485"/>
                  <a:pt x="11211970" y="749083"/>
                  <a:pt x="11212883" y="748244"/>
                </a:cubicBezTo>
                <a:cubicBezTo>
                  <a:pt x="11213795" y="747405"/>
                  <a:pt x="11215000" y="746492"/>
                  <a:pt x="11216460" y="745470"/>
                </a:cubicBezTo>
                <a:cubicBezTo>
                  <a:pt x="11217919" y="744448"/>
                  <a:pt x="11219708" y="743536"/>
                  <a:pt x="11221825" y="742696"/>
                </a:cubicBezTo>
                <a:cubicBezTo>
                  <a:pt x="11223942" y="741857"/>
                  <a:pt x="11226533" y="741455"/>
                  <a:pt x="11229526" y="741455"/>
                </a:cubicBezTo>
                <a:cubicBezTo>
                  <a:pt x="11234417" y="741455"/>
                  <a:pt x="11238103" y="743025"/>
                  <a:pt x="11240585" y="746127"/>
                </a:cubicBezTo>
                <a:cubicBezTo>
                  <a:pt x="11243067" y="749229"/>
                  <a:pt x="11244308" y="753682"/>
                  <a:pt x="11244308" y="759449"/>
                </a:cubicBezTo>
                <a:lnTo>
                  <a:pt x="11244308" y="765982"/>
                </a:lnTo>
                <a:cubicBezTo>
                  <a:pt x="11237227" y="766128"/>
                  <a:pt x="11231168" y="766712"/>
                  <a:pt x="11226132" y="767734"/>
                </a:cubicBezTo>
                <a:cubicBezTo>
                  <a:pt x="11221095" y="768756"/>
                  <a:pt x="11216971" y="770070"/>
                  <a:pt x="11213759" y="771749"/>
                </a:cubicBezTo>
                <a:cubicBezTo>
                  <a:pt x="11210547" y="773428"/>
                  <a:pt x="11208174" y="775399"/>
                  <a:pt x="11206678" y="777662"/>
                </a:cubicBezTo>
                <a:cubicBezTo>
                  <a:pt x="11205181" y="779925"/>
                  <a:pt x="11204415" y="782370"/>
                  <a:pt x="11204415" y="784998"/>
                </a:cubicBezTo>
                <a:cubicBezTo>
                  <a:pt x="11204415" y="787845"/>
                  <a:pt x="11204889" y="790254"/>
                  <a:pt x="11205838" y="792298"/>
                </a:cubicBezTo>
                <a:cubicBezTo>
                  <a:pt x="11206787" y="794342"/>
                  <a:pt x="11208028" y="796021"/>
                  <a:pt x="11209598" y="797298"/>
                </a:cubicBezTo>
                <a:cubicBezTo>
                  <a:pt x="11211167" y="798576"/>
                  <a:pt x="11212956" y="799561"/>
                  <a:pt x="11214963" y="800181"/>
                </a:cubicBezTo>
                <a:cubicBezTo>
                  <a:pt x="11216971" y="800802"/>
                  <a:pt x="11219051" y="801130"/>
                  <a:pt x="11221168" y="801130"/>
                </a:cubicBezTo>
                <a:cubicBezTo>
                  <a:pt x="11223686" y="801130"/>
                  <a:pt x="11226059" y="800838"/>
                  <a:pt x="11228176" y="800364"/>
                </a:cubicBezTo>
                <a:cubicBezTo>
                  <a:pt x="11230292" y="799890"/>
                  <a:pt x="11232300" y="799160"/>
                  <a:pt x="11234125" y="798247"/>
                </a:cubicBezTo>
                <a:cubicBezTo>
                  <a:pt x="11235950" y="797335"/>
                  <a:pt x="11237738" y="796203"/>
                  <a:pt x="11239417" y="794853"/>
                </a:cubicBezTo>
                <a:cubicBezTo>
                  <a:pt x="11241096" y="793502"/>
                  <a:pt x="11242811" y="792006"/>
                  <a:pt x="11244527" y="790327"/>
                </a:cubicBezTo>
                <a:lnTo>
                  <a:pt x="11245403" y="798357"/>
                </a:lnTo>
                <a:cubicBezTo>
                  <a:pt x="11245695" y="799525"/>
                  <a:pt x="11246498" y="800109"/>
                  <a:pt x="11247739" y="800109"/>
                </a:cubicBezTo>
                <a:lnTo>
                  <a:pt x="11250111" y="800109"/>
                </a:lnTo>
                <a:lnTo>
                  <a:pt x="11250111" y="759449"/>
                </a:lnTo>
                <a:cubicBezTo>
                  <a:pt x="11250111" y="755982"/>
                  <a:pt x="11249710" y="752806"/>
                  <a:pt x="11248870" y="749996"/>
                </a:cubicBezTo>
                <a:cubicBezTo>
                  <a:pt x="11248031" y="747149"/>
                  <a:pt x="11246790" y="744740"/>
                  <a:pt x="11245147" y="742769"/>
                </a:cubicBezTo>
                <a:cubicBezTo>
                  <a:pt x="11243505" y="740798"/>
                  <a:pt x="11241425" y="739265"/>
                  <a:pt x="11238906" y="738207"/>
                </a:cubicBezTo>
                <a:cubicBezTo>
                  <a:pt x="11236388" y="737148"/>
                  <a:pt x="11233468" y="736601"/>
                  <a:pt x="11230110" y="736601"/>
                </a:cubicBezTo>
                <a:close/>
                <a:moveTo>
                  <a:pt x="11018017" y="736601"/>
                </a:moveTo>
                <a:cubicBezTo>
                  <a:pt x="11013455" y="736601"/>
                  <a:pt x="11009403" y="737440"/>
                  <a:pt x="11005790" y="739119"/>
                </a:cubicBezTo>
                <a:cubicBezTo>
                  <a:pt x="11002177" y="740798"/>
                  <a:pt x="10998746" y="743280"/>
                  <a:pt x="10995497" y="746529"/>
                </a:cubicBezTo>
                <a:lnTo>
                  <a:pt x="10996556" y="748354"/>
                </a:lnTo>
                <a:cubicBezTo>
                  <a:pt x="10996775" y="748682"/>
                  <a:pt x="10997030" y="748937"/>
                  <a:pt x="10997322" y="749157"/>
                </a:cubicBezTo>
                <a:cubicBezTo>
                  <a:pt x="10997614" y="749375"/>
                  <a:pt x="10997979" y="749485"/>
                  <a:pt x="10998454" y="749485"/>
                </a:cubicBezTo>
                <a:cubicBezTo>
                  <a:pt x="10999111" y="749485"/>
                  <a:pt x="10999877" y="749083"/>
                  <a:pt x="11000790" y="748244"/>
                </a:cubicBezTo>
                <a:cubicBezTo>
                  <a:pt x="11001702" y="747405"/>
                  <a:pt x="11002907" y="746492"/>
                  <a:pt x="11004367" y="745470"/>
                </a:cubicBezTo>
                <a:cubicBezTo>
                  <a:pt x="11005826" y="744448"/>
                  <a:pt x="11007615" y="743536"/>
                  <a:pt x="11009732" y="742696"/>
                </a:cubicBezTo>
                <a:cubicBezTo>
                  <a:pt x="11011849" y="741857"/>
                  <a:pt x="11014440" y="741455"/>
                  <a:pt x="11017433" y="741455"/>
                </a:cubicBezTo>
                <a:cubicBezTo>
                  <a:pt x="11022324" y="741455"/>
                  <a:pt x="11026010" y="743025"/>
                  <a:pt x="11028492" y="746127"/>
                </a:cubicBezTo>
                <a:cubicBezTo>
                  <a:pt x="11030974" y="749229"/>
                  <a:pt x="11032215" y="753682"/>
                  <a:pt x="11032215" y="759449"/>
                </a:cubicBezTo>
                <a:lnTo>
                  <a:pt x="11032215" y="765982"/>
                </a:lnTo>
                <a:cubicBezTo>
                  <a:pt x="11025134" y="766128"/>
                  <a:pt x="11019075" y="766712"/>
                  <a:pt x="11014039" y="767734"/>
                </a:cubicBezTo>
                <a:cubicBezTo>
                  <a:pt x="11009002" y="768756"/>
                  <a:pt x="11004878" y="770070"/>
                  <a:pt x="11001666" y="771749"/>
                </a:cubicBezTo>
                <a:cubicBezTo>
                  <a:pt x="10998454" y="773428"/>
                  <a:pt x="10996081" y="775399"/>
                  <a:pt x="10994585" y="777662"/>
                </a:cubicBezTo>
                <a:cubicBezTo>
                  <a:pt x="10993088" y="779925"/>
                  <a:pt x="10992322" y="782370"/>
                  <a:pt x="10992322" y="784998"/>
                </a:cubicBezTo>
                <a:cubicBezTo>
                  <a:pt x="10992322" y="787845"/>
                  <a:pt x="10992796" y="790254"/>
                  <a:pt x="10993745" y="792298"/>
                </a:cubicBezTo>
                <a:cubicBezTo>
                  <a:pt x="10994694" y="794342"/>
                  <a:pt x="10995935" y="796021"/>
                  <a:pt x="10997505" y="797298"/>
                </a:cubicBezTo>
                <a:cubicBezTo>
                  <a:pt x="10999074" y="798576"/>
                  <a:pt x="11000863" y="799561"/>
                  <a:pt x="11002870" y="800181"/>
                </a:cubicBezTo>
                <a:cubicBezTo>
                  <a:pt x="11004878" y="800802"/>
                  <a:pt x="11006958" y="801130"/>
                  <a:pt x="11009075" y="801130"/>
                </a:cubicBezTo>
                <a:cubicBezTo>
                  <a:pt x="11011593" y="801130"/>
                  <a:pt x="11013966" y="800838"/>
                  <a:pt x="11016083" y="800364"/>
                </a:cubicBezTo>
                <a:cubicBezTo>
                  <a:pt x="11018199" y="799890"/>
                  <a:pt x="11020207" y="799160"/>
                  <a:pt x="11022032" y="798247"/>
                </a:cubicBezTo>
                <a:cubicBezTo>
                  <a:pt x="11023857" y="797335"/>
                  <a:pt x="11025645" y="796203"/>
                  <a:pt x="11027324" y="794853"/>
                </a:cubicBezTo>
                <a:cubicBezTo>
                  <a:pt x="11029003" y="793502"/>
                  <a:pt x="11030718" y="792006"/>
                  <a:pt x="11032434" y="790327"/>
                </a:cubicBezTo>
                <a:lnTo>
                  <a:pt x="11033310" y="798357"/>
                </a:lnTo>
                <a:cubicBezTo>
                  <a:pt x="11033602" y="799525"/>
                  <a:pt x="11034405" y="800109"/>
                  <a:pt x="11035646" y="800109"/>
                </a:cubicBezTo>
                <a:lnTo>
                  <a:pt x="11038018" y="800109"/>
                </a:lnTo>
                <a:lnTo>
                  <a:pt x="11038018" y="759449"/>
                </a:lnTo>
                <a:cubicBezTo>
                  <a:pt x="11038018" y="755982"/>
                  <a:pt x="11037617" y="752806"/>
                  <a:pt x="11036777" y="749996"/>
                </a:cubicBezTo>
                <a:cubicBezTo>
                  <a:pt x="11035938" y="747149"/>
                  <a:pt x="11034697" y="744740"/>
                  <a:pt x="11033054" y="742769"/>
                </a:cubicBezTo>
                <a:cubicBezTo>
                  <a:pt x="11031412" y="740798"/>
                  <a:pt x="11029332" y="739265"/>
                  <a:pt x="11026813" y="738207"/>
                </a:cubicBezTo>
                <a:cubicBezTo>
                  <a:pt x="11024295" y="737148"/>
                  <a:pt x="11021375" y="736601"/>
                  <a:pt x="11018017" y="736601"/>
                </a:cubicBezTo>
                <a:close/>
                <a:moveTo>
                  <a:pt x="11832117" y="734703"/>
                </a:moveTo>
                <a:cubicBezTo>
                  <a:pt x="11830219" y="734703"/>
                  <a:pt x="11828430" y="734922"/>
                  <a:pt x="11826824" y="735360"/>
                </a:cubicBezTo>
                <a:cubicBezTo>
                  <a:pt x="11825219" y="735798"/>
                  <a:pt x="11823686" y="736382"/>
                  <a:pt x="11822299" y="737148"/>
                </a:cubicBezTo>
                <a:cubicBezTo>
                  <a:pt x="11820912" y="737915"/>
                  <a:pt x="11819598" y="738791"/>
                  <a:pt x="11818357" y="739849"/>
                </a:cubicBezTo>
                <a:cubicBezTo>
                  <a:pt x="11817116" y="740908"/>
                  <a:pt x="11815948" y="742076"/>
                  <a:pt x="11814816" y="743317"/>
                </a:cubicBezTo>
                <a:lnTo>
                  <a:pt x="11813794" y="738535"/>
                </a:lnTo>
                <a:cubicBezTo>
                  <a:pt x="11813174" y="736674"/>
                  <a:pt x="11811860" y="735725"/>
                  <a:pt x="11809853" y="735725"/>
                </a:cubicBezTo>
                <a:lnTo>
                  <a:pt x="11800363" y="735725"/>
                </a:lnTo>
                <a:lnTo>
                  <a:pt x="11800363" y="800072"/>
                </a:lnTo>
                <a:lnTo>
                  <a:pt x="11800363" y="800181"/>
                </a:lnTo>
                <a:lnTo>
                  <a:pt x="11815911" y="800181"/>
                </a:lnTo>
                <a:lnTo>
                  <a:pt x="11815911" y="753062"/>
                </a:lnTo>
                <a:cubicBezTo>
                  <a:pt x="11817590" y="751127"/>
                  <a:pt x="11819415" y="749594"/>
                  <a:pt x="11821350" y="748499"/>
                </a:cubicBezTo>
                <a:cubicBezTo>
                  <a:pt x="11823321" y="747368"/>
                  <a:pt x="11825401" y="746821"/>
                  <a:pt x="11827664" y="746821"/>
                </a:cubicBezTo>
                <a:cubicBezTo>
                  <a:pt x="11831022" y="746821"/>
                  <a:pt x="11833540" y="747806"/>
                  <a:pt x="11835292" y="749777"/>
                </a:cubicBezTo>
                <a:cubicBezTo>
                  <a:pt x="11837008" y="751748"/>
                  <a:pt x="11837884" y="754887"/>
                  <a:pt x="11837884" y="759194"/>
                </a:cubicBezTo>
                <a:lnTo>
                  <a:pt x="11837884" y="800145"/>
                </a:lnTo>
                <a:lnTo>
                  <a:pt x="11853432" y="800145"/>
                </a:lnTo>
                <a:lnTo>
                  <a:pt x="11853432" y="759194"/>
                </a:lnTo>
                <a:cubicBezTo>
                  <a:pt x="11853432" y="757186"/>
                  <a:pt x="11853724" y="755398"/>
                  <a:pt x="11854308" y="753865"/>
                </a:cubicBezTo>
                <a:cubicBezTo>
                  <a:pt x="11854892" y="752295"/>
                  <a:pt x="11855695" y="751018"/>
                  <a:pt x="11856717" y="749996"/>
                </a:cubicBezTo>
                <a:cubicBezTo>
                  <a:pt x="11857739" y="748974"/>
                  <a:pt x="11858943" y="748207"/>
                  <a:pt x="11860294" y="747660"/>
                </a:cubicBezTo>
                <a:cubicBezTo>
                  <a:pt x="11861644" y="747113"/>
                  <a:pt x="11863104" y="746857"/>
                  <a:pt x="11864710" y="746857"/>
                </a:cubicBezTo>
                <a:cubicBezTo>
                  <a:pt x="11868214" y="746857"/>
                  <a:pt x="11870842" y="747879"/>
                  <a:pt x="11872630" y="749959"/>
                </a:cubicBezTo>
                <a:cubicBezTo>
                  <a:pt x="11874419" y="752003"/>
                  <a:pt x="11875331" y="755106"/>
                  <a:pt x="11875331" y="759194"/>
                </a:cubicBezTo>
                <a:lnTo>
                  <a:pt x="11875331" y="800145"/>
                </a:lnTo>
                <a:lnTo>
                  <a:pt x="11890806" y="800145"/>
                </a:lnTo>
                <a:lnTo>
                  <a:pt x="11890806" y="759194"/>
                </a:lnTo>
                <a:cubicBezTo>
                  <a:pt x="11890806" y="755288"/>
                  <a:pt x="11890332" y="751821"/>
                  <a:pt x="11889346" y="748828"/>
                </a:cubicBezTo>
                <a:cubicBezTo>
                  <a:pt x="11888361" y="745799"/>
                  <a:pt x="11886938" y="743244"/>
                  <a:pt x="11885040" y="741163"/>
                </a:cubicBezTo>
                <a:cubicBezTo>
                  <a:pt x="11883142" y="739046"/>
                  <a:pt x="11880842" y="737477"/>
                  <a:pt x="11878068" y="736382"/>
                </a:cubicBezTo>
                <a:cubicBezTo>
                  <a:pt x="11875295" y="735287"/>
                  <a:pt x="11872119" y="734740"/>
                  <a:pt x="11868579" y="734740"/>
                </a:cubicBezTo>
                <a:cubicBezTo>
                  <a:pt x="11866498" y="734740"/>
                  <a:pt x="11864491" y="734959"/>
                  <a:pt x="11862447" y="735433"/>
                </a:cubicBezTo>
                <a:cubicBezTo>
                  <a:pt x="11860440" y="735871"/>
                  <a:pt x="11858505" y="736601"/>
                  <a:pt x="11856717" y="737550"/>
                </a:cubicBezTo>
                <a:cubicBezTo>
                  <a:pt x="11854892" y="738499"/>
                  <a:pt x="11853249" y="739740"/>
                  <a:pt x="11851753" y="741273"/>
                </a:cubicBezTo>
                <a:cubicBezTo>
                  <a:pt x="11850257" y="742769"/>
                  <a:pt x="11849016" y="744631"/>
                  <a:pt x="11847994" y="746748"/>
                </a:cubicBezTo>
                <a:cubicBezTo>
                  <a:pt x="11846680" y="743098"/>
                  <a:pt x="11844745" y="740178"/>
                  <a:pt x="11842117" y="737988"/>
                </a:cubicBezTo>
                <a:cubicBezTo>
                  <a:pt x="11839490" y="735798"/>
                  <a:pt x="11836168" y="734703"/>
                  <a:pt x="11832117" y="734703"/>
                </a:cubicBezTo>
                <a:close/>
                <a:moveTo>
                  <a:pt x="11727038" y="734703"/>
                </a:moveTo>
                <a:cubicBezTo>
                  <a:pt x="11725140" y="734703"/>
                  <a:pt x="11723351" y="734922"/>
                  <a:pt x="11721745" y="735360"/>
                </a:cubicBezTo>
                <a:cubicBezTo>
                  <a:pt x="11720140" y="735798"/>
                  <a:pt x="11718607" y="736382"/>
                  <a:pt x="11717220" y="737148"/>
                </a:cubicBezTo>
                <a:cubicBezTo>
                  <a:pt x="11715833" y="737915"/>
                  <a:pt x="11714519" y="738791"/>
                  <a:pt x="11713278" y="739849"/>
                </a:cubicBezTo>
                <a:cubicBezTo>
                  <a:pt x="11712037" y="740908"/>
                  <a:pt x="11710869" y="742076"/>
                  <a:pt x="11709737" y="743317"/>
                </a:cubicBezTo>
                <a:lnTo>
                  <a:pt x="11708715" y="738535"/>
                </a:lnTo>
                <a:cubicBezTo>
                  <a:pt x="11708095" y="736674"/>
                  <a:pt x="11706781" y="735725"/>
                  <a:pt x="11704774" y="735725"/>
                </a:cubicBezTo>
                <a:lnTo>
                  <a:pt x="11695284" y="735725"/>
                </a:lnTo>
                <a:lnTo>
                  <a:pt x="11695284" y="800072"/>
                </a:lnTo>
                <a:lnTo>
                  <a:pt x="11695284" y="800181"/>
                </a:lnTo>
                <a:lnTo>
                  <a:pt x="11710832" y="800181"/>
                </a:lnTo>
                <a:lnTo>
                  <a:pt x="11710832" y="753062"/>
                </a:lnTo>
                <a:cubicBezTo>
                  <a:pt x="11712511" y="751127"/>
                  <a:pt x="11714336" y="749594"/>
                  <a:pt x="11716271" y="748499"/>
                </a:cubicBezTo>
                <a:cubicBezTo>
                  <a:pt x="11718242" y="747368"/>
                  <a:pt x="11720322" y="746821"/>
                  <a:pt x="11722585" y="746821"/>
                </a:cubicBezTo>
                <a:cubicBezTo>
                  <a:pt x="11725943" y="746821"/>
                  <a:pt x="11728461" y="747806"/>
                  <a:pt x="11730213" y="749777"/>
                </a:cubicBezTo>
                <a:cubicBezTo>
                  <a:pt x="11731929" y="751748"/>
                  <a:pt x="11732805" y="754887"/>
                  <a:pt x="11732805" y="759194"/>
                </a:cubicBezTo>
                <a:lnTo>
                  <a:pt x="11732805" y="800145"/>
                </a:lnTo>
                <a:lnTo>
                  <a:pt x="11748353" y="800145"/>
                </a:lnTo>
                <a:lnTo>
                  <a:pt x="11748353" y="759194"/>
                </a:lnTo>
                <a:cubicBezTo>
                  <a:pt x="11748353" y="757186"/>
                  <a:pt x="11748645" y="755398"/>
                  <a:pt x="11749229" y="753865"/>
                </a:cubicBezTo>
                <a:cubicBezTo>
                  <a:pt x="11749813" y="752295"/>
                  <a:pt x="11750616" y="751018"/>
                  <a:pt x="11751638" y="749996"/>
                </a:cubicBezTo>
                <a:cubicBezTo>
                  <a:pt x="11752660" y="748974"/>
                  <a:pt x="11753864" y="748207"/>
                  <a:pt x="11755215" y="747660"/>
                </a:cubicBezTo>
                <a:cubicBezTo>
                  <a:pt x="11756565" y="747113"/>
                  <a:pt x="11758025" y="746857"/>
                  <a:pt x="11759631" y="746857"/>
                </a:cubicBezTo>
                <a:cubicBezTo>
                  <a:pt x="11763135" y="746857"/>
                  <a:pt x="11765763" y="747879"/>
                  <a:pt x="11767551" y="749959"/>
                </a:cubicBezTo>
                <a:cubicBezTo>
                  <a:pt x="11769340" y="752003"/>
                  <a:pt x="11770252" y="755106"/>
                  <a:pt x="11770252" y="759194"/>
                </a:cubicBezTo>
                <a:lnTo>
                  <a:pt x="11770252" y="800145"/>
                </a:lnTo>
                <a:lnTo>
                  <a:pt x="11785727" y="800145"/>
                </a:lnTo>
                <a:lnTo>
                  <a:pt x="11785727" y="759194"/>
                </a:lnTo>
                <a:cubicBezTo>
                  <a:pt x="11785727" y="755288"/>
                  <a:pt x="11785253" y="751821"/>
                  <a:pt x="11784267" y="748828"/>
                </a:cubicBezTo>
                <a:cubicBezTo>
                  <a:pt x="11783282" y="745799"/>
                  <a:pt x="11781859" y="743244"/>
                  <a:pt x="11779961" y="741163"/>
                </a:cubicBezTo>
                <a:cubicBezTo>
                  <a:pt x="11778063" y="739046"/>
                  <a:pt x="11775763" y="737477"/>
                  <a:pt x="11772989" y="736382"/>
                </a:cubicBezTo>
                <a:cubicBezTo>
                  <a:pt x="11770216" y="735287"/>
                  <a:pt x="11767040" y="734740"/>
                  <a:pt x="11763500" y="734740"/>
                </a:cubicBezTo>
                <a:cubicBezTo>
                  <a:pt x="11761419" y="734740"/>
                  <a:pt x="11759412" y="734959"/>
                  <a:pt x="11757368" y="735433"/>
                </a:cubicBezTo>
                <a:cubicBezTo>
                  <a:pt x="11755361" y="735871"/>
                  <a:pt x="11753426" y="736601"/>
                  <a:pt x="11751638" y="737550"/>
                </a:cubicBezTo>
                <a:cubicBezTo>
                  <a:pt x="11749813" y="738499"/>
                  <a:pt x="11748170" y="739740"/>
                  <a:pt x="11746674" y="741273"/>
                </a:cubicBezTo>
                <a:cubicBezTo>
                  <a:pt x="11745178" y="742769"/>
                  <a:pt x="11743937" y="744631"/>
                  <a:pt x="11742915" y="746748"/>
                </a:cubicBezTo>
                <a:cubicBezTo>
                  <a:pt x="11741601" y="743098"/>
                  <a:pt x="11739666" y="740178"/>
                  <a:pt x="11737038" y="737988"/>
                </a:cubicBezTo>
                <a:cubicBezTo>
                  <a:pt x="11734410" y="735798"/>
                  <a:pt x="11731089" y="734703"/>
                  <a:pt x="11727038" y="734703"/>
                </a:cubicBezTo>
                <a:close/>
                <a:moveTo>
                  <a:pt x="11656814" y="734557"/>
                </a:moveTo>
                <a:cubicBezTo>
                  <a:pt x="11646412" y="734557"/>
                  <a:pt x="11637507" y="737915"/>
                  <a:pt x="11630097" y="744704"/>
                </a:cubicBezTo>
                <a:lnTo>
                  <a:pt x="11632725" y="749740"/>
                </a:lnTo>
                <a:cubicBezTo>
                  <a:pt x="11633200" y="750470"/>
                  <a:pt x="11633784" y="751164"/>
                  <a:pt x="11634550" y="751711"/>
                </a:cubicBezTo>
                <a:cubicBezTo>
                  <a:pt x="11635317" y="752259"/>
                  <a:pt x="11636229" y="752551"/>
                  <a:pt x="11637324" y="752551"/>
                </a:cubicBezTo>
                <a:cubicBezTo>
                  <a:pt x="11638602" y="752551"/>
                  <a:pt x="11639733" y="752259"/>
                  <a:pt x="11640755" y="751675"/>
                </a:cubicBezTo>
                <a:cubicBezTo>
                  <a:pt x="11641777" y="751091"/>
                  <a:pt x="11642945" y="750434"/>
                  <a:pt x="11644186" y="749704"/>
                </a:cubicBezTo>
                <a:cubicBezTo>
                  <a:pt x="11645427" y="748974"/>
                  <a:pt x="11646887" y="748317"/>
                  <a:pt x="11648529" y="747733"/>
                </a:cubicBezTo>
                <a:cubicBezTo>
                  <a:pt x="11650172" y="747149"/>
                  <a:pt x="11652252" y="746857"/>
                  <a:pt x="11654770" y="746857"/>
                </a:cubicBezTo>
                <a:cubicBezTo>
                  <a:pt x="11658238" y="746857"/>
                  <a:pt x="11660902" y="747879"/>
                  <a:pt x="11662727" y="749959"/>
                </a:cubicBezTo>
                <a:cubicBezTo>
                  <a:pt x="11664588" y="752040"/>
                  <a:pt x="11665501" y="755215"/>
                  <a:pt x="11665501" y="759522"/>
                </a:cubicBezTo>
                <a:lnTo>
                  <a:pt x="11665501" y="763281"/>
                </a:lnTo>
                <a:cubicBezTo>
                  <a:pt x="11660610" y="763391"/>
                  <a:pt x="11656267" y="763756"/>
                  <a:pt x="11652471" y="764376"/>
                </a:cubicBezTo>
                <a:cubicBezTo>
                  <a:pt x="11648675" y="764960"/>
                  <a:pt x="11645317" y="765763"/>
                  <a:pt x="11642470" y="766712"/>
                </a:cubicBezTo>
                <a:cubicBezTo>
                  <a:pt x="11639623" y="767698"/>
                  <a:pt x="11637215" y="768829"/>
                  <a:pt x="11635244" y="770107"/>
                </a:cubicBezTo>
                <a:cubicBezTo>
                  <a:pt x="11633309" y="771384"/>
                  <a:pt x="11631703" y="772771"/>
                  <a:pt x="11630462" y="774231"/>
                </a:cubicBezTo>
                <a:cubicBezTo>
                  <a:pt x="11629221" y="775691"/>
                  <a:pt x="11628345" y="777224"/>
                  <a:pt x="11627798" y="778830"/>
                </a:cubicBezTo>
                <a:cubicBezTo>
                  <a:pt x="11627250" y="780436"/>
                  <a:pt x="11626995" y="782042"/>
                  <a:pt x="11626995" y="783684"/>
                </a:cubicBezTo>
                <a:cubicBezTo>
                  <a:pt x="11626995" y="786567"/>
                  <a:pt x="11627469" y="789086"/>
                  <a:pt x="11628382" y="791276"/>
                </a:cubicBezTo>
                <a:cubicBezTo>
                  <a:pt x="11629331" y="793466"/>
                  <a:pt x="11630608" y="795291"/>
                  <a:pt x="11632287" y="796751"/>
                </a:cubicBezTo>
                <a:cubicBezTo>
                  <a:pt x="11633966" y="798210"/>
                  <a:pt x="11635937" y="799305"/>
                  <a:pt x="11638237" y="800035"/>
                </a:cubicBezTo>
                <a:cubicBezTo>
                  <a:pt x="11640536" y="800765"/>
                  <a:pt x="11643054" y="801130"/>
                  <a:pt x="11645755" y="801130"/>
                </a:cubicBezTo>
                <a:cubicBezTo>
                  <a:pt x="11648055" y="801130"/>
                  <a:pt x="11650172" y="800948"/>
                  <a:pt x="11652070" y="800546"/>
                </a:cubicBezTo>
                <a:cubicBezTo>
                  <a:pt x="11653967" y="800145"/>
                  <a:pt x="11655756" y="799597"/>
                  <a:pt x="11657435" y="798831"/>
                </a:cubicBezTo>
                <a:cubicBezTo>
                  <a:pt x="11659077" y="798101"/>
                  <a:pt x="11660720" y="797152"/>
                  <a:pt x="11662253" y="796057"/>
                </a:cubicBezTo>
                <a:cubicBezTo>
                  <a:pt x="11663822" y="794926"/>
                  <a:pt x="11665392" y="793648"/>
                  <a:pt x="11667034" y="792188"/>
                </a:cubicBezTo>
                <a:lnTo>
                  <a:pt x="11668421" y="796824"/>
                </a:lnTo>
                <a:cubicBezTo>
                  <a:pt x="11668895" y="798174"/>
                  <a:pt x="11669516" y="799050"/>
                  <a:pt x="11670319" y="799488"/>
                </a:cubicBezTo>
                <a:cubicBezTo>
                  <a:pt x="11671122" y="799926"/>
                  <a:pt x="11672253" y="800145"/>
                  <a:pt x="11673713" y="800145"/>
                </a:cubicBezTo>
                <a:lnTo>
                  <a:pt x="11680721" y="800145"/>
                </a:lnTo>
                <a:lnTo>
                  <a:pt x="11680721" y="759485"/>
                </a:lnTo>
                <a:cubicBezTo>
                  <a:pt x="11680721" y="755836"/>
                  <a:pt x="11680173" y="752514"/>
                  <a:pt x="11679115" y="749448"/>
                </a:cubicBezTo>
                <a:cubicBezTo>
                  <a:pt x="11678056" y="746383"/>
                  <a:pt x="11676487" y="743755"/>
                  <a:pt x="11674443" y="741565"/>
                </a:cubicBezTo>
                <a:cubicBezTo>
                  <a:pt x="11672399" y="739375"/>
                  <a:pt x="11669881" y="737659"/>
                  <a:pt x="11666924" y="736418"/>
                </a:cubicBezTo>
                <a:cubicBezTo>
                  <a:pt x="11663932" y="735177"/>
                  <a:pt x="11660574" y="734557"/>
                  <a:pt x="11656814" y="734557"/>
                </a:cubicBezTo>
                <a:close/>
                <a:moveTo>
                  <a:pt x="11525784" y="716089"/>
                </a:moveTo>
                <a:cubicBezTo>
                  <a:pt x="11524872" y="716089"/>
                  <a:pt x="11524105" y="716308"/>
                  <a:pt x="11523521" y="716782"/>
                </a:cubicBezTo>
                <a:cubicBezTo>
                  <a:pt x="11522937" y="717220"/>
                  <a:pt x="11522536" y="717877"/>
                  <a:pt x="11522317" y="718717"/>
                </a:cubicBezTo>
                <a:lnTo>
                  <a:pt x="11519069" y="736273"/>
                </a:lnTo>
                <a:lnTo>
                  <a:pt x="11508703" y="737952"/>
                </a:lnTo>
                <a:lnTo>
                  <a:pt x="11508703" y="744083"/>
                </a:lnTo>
                <a:cubicBezTo>
                  <a:pt x="11508703" y="745178"/>
                  <a:pt x="11508995" y="745981"/>
                  <a:pt x="11509579" y="746529"/>
                </a:cubicBezTo>
                <a:cubicBezTo>
                  <a:pt x="11510163" y="747076"/>
                  <a:pt x="11510856" y="747332"/>
                  <a:pt x="11511696" y="747332"/>
                </a:cubicBezTo>
                <a:lnTo>
                  <a:pt x="11518266" y="747332"/>
                </a:lnTo>
                <a:lnTo>
                  <a:pt x="11518266" y="783283"/>
                </a:lnTo>
                <a:cubicBezTo>
                  <a:pt x="11518266" y="788831"/>
                  <a:pt x="11519762" y="793210"/>
                  <a:pt x="11522755" y="796349"/>
                </a:cubicBezTo>
                <a:cubicBezTo>
                  <a:pt x="11525748" y="799525"/>
                  <a:pt x="11530018" y="801094"/>
                  <a:pt x="11535639" y="801094"/>
                </a:cubicBezTo>
                <a:cubicBezTo>
                  <a:pt x="11538778" y="801094"/>
                  <a:pt x="11541807" y="800620"/>
                  <a:pt x="11544764" y="799671"/>
                </a:cubicBezTo>
                <a:cubicBezTo>
                  <a:pt x="11547683" y="798722"/>
                  <a:pt x="11550275" y="797298"/>
                  <a:pt x="11552538" y="795400"/>
                </a:cubicBezTo>
                <a:lnTo>
                  <a:pt x="11547902" y="787882"/>
                </a:lnTo>
                <a:cubicBezTo>
                  <a:pt x="11547574" y="787444"/>
                  <a:pt x="11547245" y="787079"/>
                  <a:pt x="11546953" y="786860"/>
                </a:cubicBezTo>
                <a:cubicBezTo>
                  <a:pt x="11546661" y="786641"/>
                  <a:pt x="11546297" y="786531"/>
                  <a:pt x="11545822" y="786531"/>
                </a:cubicBezTo>
                <a:cubicBezTo>
                  <a:pt x="11545457" y="786531"/>
                  <a:pt x="11545056" y="786641"/>
                  <a:pt x="11544691" y="786860"/>
                </a:cubicBezTo>
                <a:cubicBezTo>
                  <a:pt x="11544326" y="787115"/>
                  <a:pt x="11543888" y="787334"/>
                  <a:pt x="11543413" y="787590"/>
                </a:cubicBezTo>
                <a:cubicBezTo>
                  <a:pt x="11542939" y="787845"/>
                  <a:pt x="11542391" y="788101"/>
                  <a:pt x="11541734" y="788320"/>
                </a:cubicBezTo>
                <a:cubicBezTo>
                  <a:pt x="11541077" y="788539"/>
                  <a:pt x="11540274" y="788648"/>
                  <a:pt x="11539325" y="788648"/>
                </a:cubicBezTo>
                <a:cubicBezTo>
                  <a:pt x="11537610" y="788648"/>
                  <a:pt x="11536259" y="788101"/>
                  <a:pt x="11535274" y="786969"/>
                </a:cubicBezTo>
                <a:cubicBezTo>
                  <a:pt x="11534288" y="785838"/>
                  <a:pt x="11533814" y="784268"/>
                  <a:pt x="11533814" y="782261"/>
                </a:cubicBezTo>
                <a:lnTo>
                  <a:pt x="11533814" y="747368"/>
                </a:lnTo>
                <a:lnTo>
                  <a:pt x="11551005" y="747368"/>
                </a:lnTo>
                <a:lnTo>
                  <a:pt x="11551005" y="736346"/>
                </a:lnTo>
                <a:lnTo>
                  <a:pt x="11533814" y="736346"/>
                </a:lnTo>
                <a:lnTo>
                  <a:pt x="11533814" y="716089"/>
                </a:lnTo>
                <a:close/>
                <a:moveTo>
                  <a:pt x="11381688" y="708826"/>
                </a:moveTo>
                <a:lnTo>
                  <a:pt x="11381688" y="745836"/>
                </a:lnTo>
                <a:cubicBezTo>
                  <a:pt x="11379389" y="742770"/>
                  <a:pt x="11376688" y="740470"/>
                  <a:pt x="11373585" y="738937"/>
                </a:cubicBezTo>
                <a:cubicBezTo>
                  <a:pt x="11370483" y="737368"/>
                  <a:pt x="11366833" y="736601"/>
                  <a:pt x="11362599" y="736601"/>
                </a:cubicBezTo>
                <a:cubicBezTo>
                  <a:pt x="11358183" y="736601"/>
                  <a:pt x="11354314" y="737441"/>
                  <a:pt x="11350956" y="739120"/>
                </a:cubicBezTo>
                <a:cubicBezTo>
                  <a:pt x="11347599" y="740799"/>
                  <a:pt x="11344752" y="743062"/>
                  <a:pt x="11342452" y="745982"/>
                </a:cubicBezTo>
                <a:cubicBezTo>
                  <a:pt x="11340116" y="748901"/>
                  <a:pt x="11338401" y="752296"/>
                  <a:pt x="11337196" y="756274"/>
                </a:cubicBezTo>
                <a:cubicBezTo>
                  <a:pt x="11335992" y="760252"/>
                  <a:pt x="11335408" y="764486"/>
                  <a:pt x="11335408" y="769049"/>
                </a:cubicBezTo>
                <a:cubicBezTo>
                  <a:pt x="11335408" y="779670"/>
                  <a:pt x="11337525" y="787663"/>
                  <a:pt x="11341795" y="792955"/>
                </a:cubicBezTo>
                <a:cubicBezTo>
                  <a:pt x="11346066" y="798247"/>
                  <a:pt x="11352051" y="800912"/>
                  <a:pt x="11359753" y="800912"/>
                </a:cubicBezTo>
                <a:cubicBezTo>
                  <a:pt x="11364351" y="800912"/>
                  <a:pt x="11368476" y="799817"/>
                  <a:pt x="11372162" y="797591"/>
                </a:cubicBezTo>
                <a:cubicBezTo>
                  <a:pt x="11375848" y="795364"/>
                  <a:pt x="11379060" y="792371"/>
                  <a:pt x="11381834" y="788612"/>
                </a:cubicBezTo>
                <a:lnTo>
                  <a:pt x="11382455" y="798466"/>
                </a:lnTo>
                <a:cubicBezTo>
                  <a:pt x="11382637" y="799561"/>
                  <a:pt x="11383258" y="800109"/>
                  <a:pt x="11384353" y="800109"/>
                </a:cubicBezTo>
                <a:lnTo>
                  <a:pt x="11387601" y="800109"/>
                </a:lnTo>
                <a:lnTo>
                  <a:pt x="11387601" y="708826"/>
                </a:lnTo>
                <a:close/>
                <a:moveTo>
                  <a:pt x="11058530" y="708826"/>
                </a:moveTo>
                <a:lnTo>
                  <a:pt x="11058530" y="800109"/>
                </a:lnTo>
                <a:lnTo>
                  <a:pt x="11064552" y="800109"/>
                </a:lnTo>
                <a:lnTo>
                  <a:pt x="11064552" y="708826"/>
                </a:lnTo>
                <a:close/>
                <a:moveTo>
                  <a:pt x="11560896" y="706855"/>
                </a:moveTo>
                <a:lnTo>
                  <a:pt x="11560896" y="800072"/>
                </a:lnTo>
                <a:lnTo>
                  <a:pt x="11576371" y="800072"/>
                </a:lnTo>
                <a:lnTo>
                  <a:pt x="11576371" y="753537"/>
                </a:lnTo>
                <a:cubicBezTo>
                  <a:pt x="11578452" y="751420"/>
                  <a:pt x="11580678" y="749777"/>
                  <a:pt x="11583014" y="748573"/>
                </a:cubicBezTo>
                <a:cubicBezTo>
                  <a:pt x="11585350" y="747368"/>
                  <a:pt x="11587868" y="746748"/>
                  <a:pt x="11590533" y="746748"/>
                </a:cubicBezTo>
                <a:cubicBezTo>
                  <a:pt x="11594219" y="746748"/>
                  <a:pt x="11596957" y="747843"/>
                  <a:pt x="11598745" y="749996"/>
                </a:cubicBezTo>
                <a:cubicBezTo>
                  <a:pt x="11600533" y="752150"/>
                  <a:pt x="11601446" y="755179"/>
                  <a:pt x="11601446" y="759121"/>
                </a:cubicBezTo>
                <a:lnTo>
                  <a:pt x="11601446" y="800072"/>
                </a:lnTo>
                <a:lnTo>
                  <a:pt x="11616921" y="800072"/>
                </a:lnTo>
                <a:lnTo>
                  <a:pt x="11616921" y="759121"/>
                </a:lnTo>
                <a:cubicBezTo>
                  <a:pt x="11616921" y="755508"/>
                  <a:pt x="11616447" y="752223"/>
                  <a:pt x="11615498" y="749230"/>
                </a:cubicBezTo>
                <a:cubicBezTo>
                  <a:pt x="11614585" y="746237"/>
                  <a:pt x="11613198" y="743682"/>
                  <a:pt x="11611373" y="741529"/>
                </a:cubicBezTo>
                <a:cubicBezTo>
                  <a:pt x="11609585" y="739375"/>
                  <a:pt x="11607286" y="737733"/>
                  <a:pt x="11604585" y="736528"/>
                </a:cubicBezTo>
                <a:cubicBezTo>
                  <a:pt x="11601884" y="735324"/>
                  <a:pt x="11598745" y="734740"/>
                  <a:pt x="11595241" y="734740"/>
                </a:cubicBezTo>
                <a:cubicBezTo>
                  <a:pt x="11591190" y="734740"/>
                  <a:pt x="11587649" y="735470"/>
                  <a:pt x="11584657" y="736930"/>
                </a:cubicBezTo>
                <a:cubicBezTo>
                  <a:pt x="11581627" y="738390"/>
                  <a:pt x="11578890" y="740288"/>
                  <a:pt x="11576371" y="742624"/>
                </a:cubicBezTo>
                <a:lnTo>
                  <a:pt x="11576371" y="706855"/>
                </a:lnTo>
                <a:close/>
                <a:moveTo>
                  <a:pt x="11321539" y="434247"/>
                </a:moveTo>
                <a:lnTo>
                  <a:pt x="11348438" y="434247"/>
                </a:lnTo>
                <a:lnTo>
                  <a:pt x="11348438" y="438846"/>
                </a:lnTo>
                <a:cubicBezTo>
                  <a:pt x="11348438" y="462825"/>
                  <a:pt x="11343548" y="481513"/>
                  <a:pt x="11333730" y="494871"/>
                </a:cubicBezTo>
                <a:cubicBezTo>
                  <a:pt x="11323911" y="508230"/>
                  <a:pt x="11310115" y="514909"/>
                  <a:pt x="11292340" y="514909"/>
                </a:cubicBezTo>
                <a:cubicBezTo>
                  <a:pt x="11280515" y="514909"/>
                  <a:pt x="11271171" y="511478"/>
                  <a:pt x="11264273" y="504616"/>
                </a:cubicBezTo>
                <a:cubicBezTo>
                  <a:pt x="11257375" y="497718"/>
                  <a:pt x="11253907" y="488484"/>
                  <a:pt x="11253907" y="476877"/>
                </a:cubicBezTo>
                <a:cubicBezTo>
                  <a:pt x="11253907" y="461292"/>
                  <a:pt x="11258907" y="450306"/>
                  <a:pt x="11268872" y="443883"/>
                </a:cubicBezTo>
                <a:cubicBezTo>
                  <a:pt x="11278836" y="437459"/>
                  <a:pt x="11296391" y="434247"/>
                  <a:pt x="11321539" y="434247"/>
                </a:cubicBezTo>
                <a:close/>
                <a:moveTo>
                  <a:pt x="11301684" y="291866"/>
                </a:moveTo>
                <a:cubicBezTo>
                  <a:pt x="11284566" y="291866"/>
                  <a:pt x="11268361" y="293289"/>
                  <a:pt x="11253068" y="296209"/>
                </a:cubicBezTo>
                <a:cubicBezTo>
                  <a:pt x="11237775" y="299129"/>
                  <a:pt x="11222701" y="303619"/>
                  <a:pt x="11207882" y="309750"/>
                </a:cubicBezTo>
                <a:lnTo>
                  <a:pt x="11207882" y="367053"/>
                </a:lnTo>
                <a:cubicBezTo>
                  <a:pt x="11224270" y="358147"/>
                  <a:pt x="11239965" y="351651"/>
                  <a:pt x="11255039" y="347599"/>
                </a:cubicBezTo>
                <a:cubicBezTo>
                  <a:pt x="11270113" y="343548"/>
                  <a:pt x="11285661" y="341504"/>
                  <a:pt x="11301720" y="341504"/>
                </a:cubicBezTo>
                <a:cubicBezTo>
                  <a:pt x="11317050" y="341504"/>
                  <a:pt x="11328693" y="344314"/>
                  <a:pt x="11336576" y="349899"/>
                </a:cubicBezTo>
                <a:cubicBezTo>
                  <a:pt x="11344497" y="355483"/>
                  <a:pt x="11348438" y="363695"/>
                  <a:pt x="11348438" y="374572"/>
                </a:cubicBezTo>
                <a:lnTo>
                  <a:pt x="11348438" y="385667"/>
                </a:lnTo>
                <a:lnTo>
                  <a:pt x="11301757" y="385667"/>
                </a:lnTo>
                <a:cubicBezTo>
                  <a:pt x="11261061" y="385667"/>
                  <a:pt x="11230986" y="392785"/>
                  <a:pt x="11211532" y="407128"/>
                </a:cubicBezTo>
                <a:cubicBezTo>
                  <a:pt x="11192079" y="421472"/>
                  <a:pt x="11182370" y="443627"/>
                  <a:pt x="11182370" y="473629"/>
                </a:cubicBezTo>
                <a:cubicBezTo>
                  <a:pt x="11182370" y="501368"/>
                  <a:pt x="11190509" y="522975"/>
                  <a:pt x="11206824" y="538414"/>
                </a:cubicBezTo>
                <a:cubicBezTo>
                  <a:pt x="11223139" y="553853"/>
                  <a:pt x="11245914" y="561590"/>
                  <a:pt x="11275149" y="561590"/>
                </a:cubicBezTo>
                <a:cubicBezTo>
                  <a:pt x="11290479" y="561590"/>
                  <a:pt x="11304494" y="558525"/>
                  <a:pt x="11317196" y="552393"/>
                </a:cubicBezTo>
                <a:cubicBezTo>
                  <a:pt x="11329897" y="546261"/>
                  <a:pt x="11340336" y="537538"/>
                  <a:pt x="11348438" y="526187"/>
                </a:cubicBezTo>
                <a:lnTo>
                  <a:pt x="11348438" y="555021"/>
                </a:lnTo>
                <a:lnTo>
                  <a:pt x="11415231" y="555021"/>
                </a:lnTo>
                <a:lnTo>
                  <a:pt x="11415231" y="408223"/>
                </a:lnTo>
                <a:cubicBezTo>
                  <a:pt x="11415231" y="364571"/>
                  <a:pt x="11406763" y="334277"/>
                  <a:pt x="11389791" y="317306"/>
                </a:cubicBezTo>
                <a:cubicBezTo>
                  <a:pt x="11372856" y="300334"/>
                  <a:pt x="11343475" y="291866"/>
                  <a:pt x="11301684" y="291866"/>
                </a:cubicBezTo>
                <a:close/>
                <a:moveTo>
                  <a:pt x="11492899" y="225110"/>
                </a:moveTo>
                <a:lnTo>
                  <a:pt x="11492899" y="298107"/>
                </a:lnTo>
                <a:lnTo>
                  <a:pt x="11427202" y="298107"/>
                </a:lnTo>
                <a:lnTo>
                  <a:pt x="11427202" y="349935"/>
                </a:lnTo>
                <a:lnTo>
                  <a:pt x="11492899" y="349935"/>
                </a:lnTo>
                <a:lnTo>
                  <a:pt x="11492899" y="467971"/>
                </a:lnTo>
                <a:cubicBezTo>
                  <a:pt x="11492899" y="501368"/>
                  <a:pt x="11499688" y="524216"/>
                  <a:pt x="11513302" y="536552"/>
                </a:cubicBezTo>
                <a:cubicBezTo>
                  <a:pt x="11526916" y="548889"/>
                  <a:pt x="11552976" y="555057"/>
                  <a:pt x="11591518" y="555057"/>
                </a:cubicBezTo>
                <a:lnTo>
                  <a:pt x="11648018" y="555057"/>
                </a:lnTo>
                <a:lnTo>
                  <a:pt x="11648018" y="503229"/>
                </a:lnTo>
                <a:lnTo>
                  <a:pt x="11596336" y="503229"/>
                </a:lnTo>
                <a:cubicBezTo>
                  <a:pt x="11583306" y="503229"/>
                  <a:pt x="11573999" y="500747"/>
                  <a:pt x="11568415" y="495783"/>
                </a:cubicBezTo>
                <a:cubicBezTo>
                  <a:pt x="11562831" y="490820"/>
                  <a:pt x="11560020" y="482607"/>
                  <a:pt x="11560020" y="471183"/>
                </a:cubicBezTo>
                <a:lnTo>
                  <a:pt x="11560020" y="349935"/>
                </a:lnTo>
                <a:lnTo>
                  <a:pt x="11647982" y="349935"/>
                </a:lnTo>
                <a:lnTo>
                  <a:pt x="11647982" y="298107"/>
                </a:lnTo>
                <a:lnTo>
                  <a:pt x="11560020" y="298107"/>
                </a:lnTo>
                <a:lnTo>
                  <a:pt x="11560020" y="225110"/>
                </a:lnTo>
                <a:close/>
                <a:moveTo>
                  <a:pt x="11773427" y="198101"/>
                </a:moveTo>
                <a:lnTo>
                  <a:pt x="11773427" y="241534"/>
                </a:lnTo>
                <a:lnTo>
                  <a:pt x="11828905" y="241534"/>
                </a:lnTo>
                <a:lnTo>
                  <a:pt x="11828905" y="573671"/>
                </a:lnTo>
                <a:lnTo>
                  <a:pt x="11773427" y="573671"/>
                </a:lnTo>
                <a:lnTo>
                  <a:pt x="11773427" y="617105"/>
                </a:lnTo>
                <a:lnTo>
                  <a:pt x="11889857" y="617105"/>
                </a:lnTo>
                <a:lnTo>
                  <a:pt x="11889857" y="198101"/>
                </a:lnTo>
                <a:close/>
                <a:moveTo>
                  <a:pt x="10990132" y="197736"/>
                </a:moveTo>
                <a:lnTo>
                  <a:pt x="10990132" y="617105"/>
                </a:lnTo>
                <a:lnTo>
                  <a:pt x="11106635" y="617105"/>
                </a:lnTo>
                <a:lnTo>
                  <a:pt x="11106635" y="573671"/>
                </a:lnTo>
                <a:lnTo>
                  <a:pt x="11051085" y="573671"/>
                </a:lnTo>
                <a:lnTo>
                  <a:pt x="11051085" y="241169"/>
                </a:lnTo>
                <a:lnTo>
                  <a:pt x="11106635" y="241169"/>
                </a:lnTo>
                <a:lnTo>
                  <a:pt x="11106635" y="19773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3780000">
            <a:noAutofit/>
          </a:bodyPr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Place Date">
            <a:extLst>
              <a:ext uri="{FF2B5EF4-FFF2-40B4-BE49-F238E27FC236}">
                <a16:creationId xmlns:a16="http://schemas.microsoft.com/office/drawing/2014/main" id="{008A8BDE-FC5C-4558-8761-E086AA9ABE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5997600"/>
            <a:ext cx="3121025" cy="360000"/>
          </a:xfrm>
        </p:spPr>
        <p:txBody>
          <a:bodyPr lIns="270000" tIns="36000" rIns="108000" bIns="36000" anchor="ctr"/>
          <a:lstStyle>
            <a:lvl1pPr>
              <a:buNone/>
              <a:defRPr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/>
              <a:t>Date, YYYY/MM/DD</a:t>
            </a:r>
          </a:p>
        </p:txBody>
      </p:sp>
      <p:sp>
        <p:nvSpPr>
          <p:cNvPr id="10" name="Speaker">
            <a:extLst>
              <a:ext uri="{FF2B5EF4-FFF2-40B4-BE49-F238E27FC236}">
                <a16:creationId xmlns:a16="http://schemas.microsoft.com/office/drawing/2014/main" id="{DEDBF81E-0BA0-42B9-970D-41B65E5839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951099" y="5213821"/>
            <a:ext cx="1240901" cy="353805"/>
          </a:xfrm>
          <a:solidFill>
            <a:schemeClr val="accent2"/>
          </a:solidFill>
        </p:spPr>
        <p:txBody>
          <a:bodyPr wrap="none" lIns="108000" tIns="36000" rIns="270000" bIns="36000">
            <a:spAutoFit/>
          </a:bodyPr>
          <a:lstStyle>
            <a:lvl1pPr algn="r">
              <a:buNone/>
              <a:defRPr sz="1800">
                <a:solidFill>
                  <a:schemeClr val="bg1"/>
                </a:solidFill>
              </a:defRPr>
            </a:lvl1pPr>
            <a:lvl2pPr>
              <a:buNone/>
              <a:defRPr sz="2400">
                <a:solidFill>
                  <a:schemeClr val="bg1"/>
                </a:solidFill>
              </a:defRPr>
            </a:lvl2pPr>
            <a:lvl3pPr>
              <a:buNone/>
              <a:defRPr sz="2400">
                <a:solidFill>
                  <a:schemeClr val="bg1"/>
                </a:solidFill>
              </a:defRPr>
            </a:lvl3pPr>
            <a:lvl4pPr>
              <a:buNone/>
              <a:defRPr sz="2400">
                <a:solidFill>
                  <a:schemeClr val="bg1"/>
                </a:solidFill>
              </a:defRPr>
            </a:lvl4pPr>
            <a:lvl5pPr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Speaker</a:t>
            </a:r>
          </a:p>
        </p:txBody>
      </p:sp>
      <p:sp>
        <p:nvSpPr>
          <p:cNvPr id="9" name="Customers name">
            <a:extLst>
              <a:ext uri="{FF2B5EF4-FFF2-40B4-BE49-F238E27FC236}">
                <a16:creationId xmlns:a16="http://schemas.microsoft.com/office/drawing/2014/main" id="{7A0D7D4B-B886-48B0-B26D-08C980F7FE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96186" y="4694400"/>
            <a:ext cx="2795814" cy="447421"/>
          </a:xfrm>
          <a:solidFill>
            <a:schemeClr val="accent2"/>
          </a:solidFill>
        </p:spPr>
        <p:txBody>
          <a:bodyPr wrap="none" lIns="108000" tIns="36000" rIns="270000" bIns="36000">
            <a:spAutoFit/>
          </a:bodyPr>
          <a:lstStyle>
            <a:lvl1pPr algn="r">
              <a:buNone/>
              <a:defRPr sz="2400">
                <a:solidFill>
                  <a:schemeClr val="bg1"/>
                </a:solidFill>
              </a:defRPr>
            </a:lvl1pPr>
            <a:lvl2pPr>
              <a:buNone/>
              <a:defRPr sz="2400">
                <a:solidFill>
                  <a:schemeClr val="bg1"/>
                </a:solidFill>
              </a:defRPr>
            </a:lvl2pPr>
            <a:lvl3pPr>
              <a:buNone/>
              <a:defRPr sz="2400">
                <a:solidFill>
                  <a:schemeClr val="bg1"/>
                </a:solidFill>
              </a:defRPr>
            </a:lvl3pPr>
            <a:lvl4pPr>
              <a:buNone/>
              <a:defRPr sz="2400">
                <a:solidFill>
                  <a:schemeClr val="bg1"/>
                </a:solidFill>
              </a:defRPr>
            </a:lvl4pPr>
            <a:lvl5pPr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err="1"/>
              <a:t>Customer‘s</a:t>
            </a:r>
            <a:r>
              <a:rPr lang="de-DE"/>
              <a:t> </a:t>
            </a:r>
            <a:r>
              <a:rPr lang="de-DE" err="1"/>
              <a:t>name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1298124E-582A-4C89-801D-7196504AFB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2382101"/>
            <a:ext cx="7409256" cy="634845"/>
          </a:xfrm>
          <a:solidFill>
            <a:schemeClr val="accent1"/>
          </a:solidFill>
        </p:spPr>
        <p:txBody>
          <a:bodyPr wrap="none" lIns="270000" tIns="36000" rIns="108000" bIns="36000">
            <a:spAutoFit/>
          </a:bodyPr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598A73E4-AE9E-4D3F-8366-8B3345DD64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738800"/>
            <a:ext cx="6126854" cy="571301"/>
          </a:xfrm>
        </p:spPr>
        <p:txBody>
          <a:bodyPr lIns="270000" tIns="36000" rIns="108000" bIns="36000" anchor="b">
            <a:spAutoFit/>
          </a:bodyPr>
          <a:lstStyle>
            <a:lvl1pPr algn="l">
              <a:defRPr sz="3600" b="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4B7C34D4-F53E-4F5B-A250-D6684A2A60B6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10.10.2023</a:t>
            </a:fld>
            <a:endParaRPr lang="de-DE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F99CE203-DED9-409F-B33D-E89207D40C19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2"/>
            </p:custDataLst>
          </p:nvPr>
        </p:nvSpPr>
        <p:spPr/>
        <p:txBody>
          <a:bodyPr/>
          <a:lstStyle/>
          <a:p>
            <a:endParaRPr lang="de-DE">
              <a:noFill/>
            </a:endParaRP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1A96434E-4BE6-4AE3-A64D-963E6AF76F0D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42A0C3C-A441-4C3F-B9F1-793D433CF6FE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7178662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">
            <a:extLst>
              <a:ext uri="{FF2B5EF4-FFF2-40B4-BE49-F238E27FC236}">
                <a16:creationId xmlns:a16="http://schemas.microsoft.com/office/drawing/2014/main" id="{8F8BDA61-1E49-460C-94BC-07694CD5AA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C13FDBA-BB18-4C7B-A850-8CD1720A89E9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10.10.202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58585662-B21C-4B5B-AE43-1848FFCC62C8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2"/>
            </p:custDataLst>
          </p:nvPr>
        </p:nvSpPr>
        <p:spPr/>
        <p:txBody>
          <a:bodyPr/>
          <a:lstStyle/>
          <a:p>
            <a:endParaRPr lang="de-DE">
              <a:noFill/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F3F836D3-0F4E-4BDF-9055-D936A7BA23CE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42A0C3C-A441-4C3F-B9F1-793D433CF6FE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8972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ower 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">
            <a:extLst>
              <a:ext uri="{FF2B5EF4-FFF2-40B4-BE49-F238E27FC236}">
                <a16:creationId xmlns:a16="http://schemas.microsoft.com/office/drawing/2014/main" id="{465A2FE8-508C-4CDC-BE86-FE87DE2C275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3204000" cy="68580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0BE372D3-E2D7-4CA3-BD28-8BE1707839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316800"/>
            <a:ext cx="3133022" cy="46050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able of </a:t>
            </a:r>
            <a:r>
              <a:rPr lang="de-DE" err="1"/>
              <a:t>content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248DFC7-9764-4820-9759-29E3B05E4976}"/>
              </a:ext>
            </a:extLst>
          </p:cNvPr>
          <p:cNvSpPr>
            <a:spLocks noGrp="1"/>
          </p:cNvSpPr>
          <p:nvPr>
            <p:ph type="dt" sz="half" idx="18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10.10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51CAF7-4E72-46A8-A7BE-B83F979F6E22}"/>
              </a:ext>
            </a:extLst>
          </p:cNvPr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/>
          <a:p>
            <a:endParaRPr lang="de-DE">
              <a:noFill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3687A07-0CBC-4AE4-B16E-90B6DBD4A70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42A0C3C-A441-4C3F-B9F1-793D433CF6FE}" type="slidenum">
              <a:rPr lang="de-DE"/>
              <a:pPr/>
              <a:t>‹Nr.›</a:t>
            </a:fld>
            <a:endParaRPr lang="de-DE" sz="800"/>
          </a:p>
        </p:txBody>
      </p:sp>
    </p:spTree>
    <p:extLst>
      <p:ext uri="{BB962C8B-B14F-4D97-AF65-F5344CB8AC3E}">
        <p14:creationId xmlns:p14="http://schemas.microsoft.com/office/powerpoint/2010/main" val="256631116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  <p15:guide id="3" orient="horz" pos="1071">
          <p15:clr>
            <a:srgbClr val="FBAE40"/>
          </p15:clr>
        </p15:guide>
        <p15:guide id="4" orient="horz" pos="397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ower 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">
            <a:extLst>
              <a:ext uri="{FF2B5EF4-FFF2-40B4-BE49-F238E27FC236}">
                <a16:creationId xmlns:a16="http://schemas.microsoft.com/office/drawing/2014/main" id="{465A2FE8-508C-4CDC-BE86-FE87DE2C275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3200" cy="1989138"/>
          </a:xfrm>
          <a:solidFill>
            <a:schemeClr val="bg1">
              <a:lumMod val="95000"/>
            </a:schemeClr>
          </a:solidFill>
        </p:spPr>
        <p:txBody>
          <a:bodyPr tIns="468000"/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0BE372D3-E2D7-4CA3-BD28-8BE1707839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316800"/>
            <a:ext cx="3133022" cy="46050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able of </a:t>
            </a:r>
            <a:r>
              <a:rPr lang="de-DE" err="1"/>
              <a:t>content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01BA8FD-8CAB-47EF-9104-508ECAA72D2F}"/>
              </a:ext>
            </a:extLst>
          </p:cNvPr>
          <p:cNvSpPr>
            <a:spLocks noGrp="1"/>
          </p:cNvSpPr>
          <p:nvPr>
            <p:ph type="dt" sz="half" idx="18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10.10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854A34-D6CF-4C46-9920-DCF491DDD5B6}"/>
              </a:ext>
            </a:extLst>
          </p:cNvPr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/>
          <a:p>
            <a:endParaRPr lang="de-DE">
              <a:noFill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312C6C9-C653-4629-A56E-1CDCDB45BB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42A0C3C-A441-4C3F-B9F1-793D433CF6FE}" type="slidenum">
              <a:rPr lang="de-DE"/>
              <a:pPr/>
              <a:t>‹Nr.›</a:t>
            </a:fld>
            <a:endParaRPr lang="de-DE" sz="800"/>
          </a:p>
        </p:txBody>
      </p:sp>
    </p:spTree>
    <p:extLst>
      <p:ext uri="{BB962C8B-B14F-4D97-AF65-F5344CB8AC3E}">
        <p14:creationId xmlns:p14="http://schemas.microsoft.com/office/powerpoint/2010/main" val="103725794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  <p15:guide id="3" orient="horz" pos="1253" userDrawn="1">
          <p15:clr>
            <a:srgbClr val="FBAE40"/>
          </p15:clr>
        </p15:guide>
        <p15:guide id="4" orient="horz" pos="397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3450E45-C870-4C00-B0C5-8C5AE34939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10.10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B3855D4-2F1D-4216-8962-F964BA7042A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de-DE">
              <a:noFill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F28D2B6-2C85-4166-ABD4-50E11104C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A0C3C-A441-4C3F-B9F1-793D433CF6FE}" type="slidenum">
              <a:rPr lang="de-DE"/>
              <a:pPr/>
              <a:t>‹Nr.›</a:t>
            </a:fld>
            <a:endParaRPr lang="de-DE" sz="800"/>
          </a:p>
        </p:txBody>
      </p:sp>
    </p:spTree>
    <p:extLst>
      <p:ext uri="{BB962C8B-B14F-4D97-AF65-F5344CB8AC3E}">
        <p14:creationId xmlns:p14="http://schemas.microsoft.com/office/powerpoint/2010/main" val="1199895562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7FB648-DA06-3272-8A45-A27F7CEDEC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5AA7DC5-493C-2D5D-54CA-261EAF2756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2BFDD8-990C-B5CD-A151-4B88B97572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BA9B6E-1651-1047-BD34-749F38424553}" type="datetimeFigureOut">
              <a:rPr lang="de-DE" smtClean="0"/>
              <a:t>10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FE2679E-BF6F-7C56-F011-24EAD78810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B344C1-DC1B-77FA-CD7F-DFE8F2131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04FCFF-D587-AD4D-A987-1F49BEDE30E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0617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8442B3-5307-1764-180D-BA189EEE79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D91B49-72F5-9DBA-B5D4-4EFF6AFA7F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362846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C42931-110A-D4ED-6779-62166FE2F8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9ACF36-874C-DF4B-AE30-3244E1B2C9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895025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C42931-110A-D4ED-6779-62166FE2F8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9ACF36-874C-DF4B-AE30-3244E1B2C9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895025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ohn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G Orange rechts">
            <a:extLst>
              <a:ext uri="{FF2B5EF4-FFF2-40B4-BE49-F238E27FC236}">
                <a16:creationId xmlns:a16="http://schemas.microsoft.com/office/drawing/2014/main" id="{E90156E9-CF9A-443F-9F29-83F73D8AA390}"/>
              </a:ext>
            </a:extLst>
          </p:cNvPr>
          <p:cNvSpPr/>
          <p:nvPr userDrawn="1"/>
        </p:nvSpPr>
        <p:spPr>
          <a:xfrm>
            <a:off x="11728765" y="147089"/>
            <a:ext cx="210084" cy="5198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110000"/>
              </a:lnSpc>
              <a:spcAft>
                <a:spcPts val="200"/>
              </a:spcAft>
            </a:pPr>
            <a:endParaRPr lang="de-DE" sz="1400"/>
          </a:p>
        </p:txBody>
      </p:sp>
      <p:sp>
        <p:nvSpPr>
          <p:cNvPr id="14" name="HG Orange links">
            <a:extLst>
              <a:ext uri="{FF2B5EF4-FFF2-40B4-BE49-F238E27FC236}">
                <a16:creationId xmlns:a16="http://schemas.microsoft.com/office/drawing/2014/main" id="{2528A82B-E7B9-4532-A7BB-29BB12946490}"/>
              </a:ext>
            </a:extLst>
          </p:cNvPr>
          <p:cNvSpPr/>
          <p:nvPr userDrawn="1"/>
        </p:nvSpPr>
        <p:spPr>
          <a:xfrm>
            <a:off x="10927533" y="147089"/>
            <a:ext cx="210084" cy="5198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110000"/>
              </a:lnSpc>
              <a:spcAft>
                <a:spcPts val="200"/>
              </a:spcAft>
            </a:pPr>
            <a:endParaRPr lang="de-DE" sz="1400"/>
          </a:p>
        </p:txBody>
      </p:sp>
      <p:sp>
        <p:nvSpPr>
          <p:cNvPr id="12" name="Bildplatzhalter">
            <a:extLst>
              <a:ext uri="{FF2B5EF4-FFF2-40B4-BE49-F238E27FC236}">
                <a16:creationId xmlns:a16="http://schemas.microsoft.com/office/drawing/2014/main" id="{7E42519A-B67D-4DC5-891C-31375F45FDE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665610 w 12192000"/>
              <a:gd name="connsiteY0" fmla="*/ 772625 h 6858000"/>
              <a:gd name="connsiteX1" fmla="*/ 11665610 w 12192000"/>
              <a:gd name="connsiteY1" fmla="*/ 783465 h 6858000"/>
              <a:gd name="connsiteX2" fmla="*/ 11658822 w 12192000"/>
              <a:gd name="connsiteY2" fmla="*/ 788721 h 6858000"/>
              <a:gd name="connsiteX3" fmla="*/ 11650573 w 12192000"/>
              <a:gd name="connsiteY3" fmla="*/ 790436 h 6858000"/>
              <a:gd name="connsiteX4" fmla="*/ 11644259 w 12192000"/>
              <a:gd name="connsiteY4" fmla="*/ 788684 h 6858000"/>
              <a:gd name="connsiteX5" fmla="*/ 11641850 w 12192000"/>
              <a:gd name="connsiteY5" fmla="*/ 782845 h 6858000"/>
              <a:gd name="connsiteX6" fmla="*/ 11643054 w 12192000"/>
              <a:gd name="connsiteY6" fmla="*/ 779012 h 6858000"/>
              <a:gd name="connsiteX7" fmla="*/ 11646996 w 12192000"/>
              <a:gd name="connsiteY7" fmla="*/ 775946 h 6858000"/>
              <a:gd name="connsiteX8" fmla="*/ 11654332 w 12192000"/>
              <a:gd name="connsiteY8" fmla="*/ 773793 h 6858000"/>
              <a:gd name="connsiteX9" fmla="*/ 11665610 w 12192000"/>
              <a:gd name="connsiteY9" fmla="*/ 772625 h 6858000"/>
              <a:gd name="connsiteX10" fmla="*/ 11244271 w 12192000"/>
              <a:gd name="connsiteY10" fmla="*/ 769924 h 6858000"/>
              <a:gd name="connsiteX11" fmla="*/ 11244308 w 12192000"/>
              <a:gd name="connsiteY11" fmla="*/ 769924 h 6858000"/>
              <a:gd name="connsiteX12" fmla="*/ 11244308 w 12192000"/>
              <a:gd name="connsiteY12" fmla="*/ 786276 h 6858000"/>
              <a:gd name="connsiteX13" fmla="*/ 11239855 w 12192000"/>
              <a:gd name="connsiteY13" fmla="*/ 790473 h 6858000"/>
              <a:gd name="connsiteX14" fmla="*/ 11235001 w 12192000"/>
              <a:gd name="connsiteY14" fmla="*/ 793831 h 6858000"/>
              <a:gd name="connsiteX15" fmla="*/ 11229344 w 12192000"/>
              <a:gd name="connsiteY15" fmla="*/ 796021 h 6858000"/>
              <a:gd name="connsiteX16" fmla="*/ 11222664 w 12192000"/>
              <a:gd name="connsiteY16" fmla="*/ 796787 h 6858000"/>
              <a:gd name="connsiteX17" fmla="*/ 11217956 w 12192000"/>
              <a:gd name="connsiteY17" fmla="*/ 796094 h 6858000"/>
              <a:gd name="connsiteX18" fmla="*/ 11213978 w 12192000"/>
              <a:gd name="connsiteY18" fmla="*/ 793940 h 6858000"/>
              <a:gd name="connsiteX19" fmla="*/ 11211204 w 12192000"/>
              <a:gd name="connsiteY19" fmla="*/ 790181 h 6858000"/>
              <a:gd name="connsiteX20" fmla="*/ 11210182 w 12192000"/>
              <a:gd name="connsiteY20" fmla="*/ 784743 h 6858000"/>
              <a:gd name="connsiteX21" fmla="*/ 11212189 w 12192000"/>
              <a:gd name="connsiteY21" fmla="*/ 778830 h 6858000"/>
              <a:gd name="connsiteX22" fmla="*/ 11218357 w 12192000"/>
              <a:gd name="connsiteY22" fmla="*/ 774341 h 6858000"/>
              <a:gd name="connsiteX23" fmla="*/ 11228942 w 12192000"/>
              <a:gd name="connsiteY23" fmla="*/ 771348 h 6858000"/>
              <a:gd name="connsiteX24" fmla="*/ 11244271 w 12192000"/>
              <a:gd name="connsiteY24" fmla="*/ 769924 h 6858000"/>
              <a:gd name="connsiteX25" fmla="*/ 11032215 w 12192000"/>
              <a:gd name="connsiteY25" fmla="*/ 769924 h 6858000"/>
              <a:gd name="connsiteX26" fmla="*/ 11032251 w 12192000"/>
              <a:gd name="connsiteY26" fmla="*/ 769924 h 6858000"/>
              <a:gd name="connsiteX27" fmla="*/ 11032251 w 12192000"/>
              <a:gd name="connsiteY27" fmla="*/ 786276 h 6858000"/>
              <a:gd name="connsiteX28" fmla="*/ 11027799 w 12192000"/>
              <a:gd name="connsiteY28" fmla="*/ 790473 h 6858000"/>
              <a:gd name="connsiteX29" fmla="*/ 11022944 w 12192000"/>
              <a:gd name="connsiteY29" fmla="*/ 793831 h 6858000"/>
              <a:gd name="connsiteX30" fmla="*/ 11017287 w 12192000"/>
              <a:gd name="connsiteY30" fmla="*/ 796021 h 6858000"/>
              <a:gd name="connsiteX31" fmla="*/ 11010608 w 12192000"/>
              <a:gd name="connsiteY31" fmla="*/ 796787 h 6858000"/>
              <a:gd name="connsiteX32" fmla="*/ 11005899 w 12192000"/>
              <a:gd name="connsiteY32" fmla="*/ 796094 h 6858000"/>
              <a:gd name="connsiteX33" fmla="*/ 11001921 w 12192000"/>
              <a:gd name="connsiteY33" fmla="*/ 793940 h 6858000"/>
              <a:gd name="connsiteX34" fmla="*/ 10999147 w 12192000"/>
              <a:gd name="connsiteY34" fmla="*/ 790181 h 6858000"/>
              <a:gd name="connsiteX35" fmla="*/ 10998125 w 12192000"/>
              <a:gd name="connsiteY35" fmla="*/ 784743 h 6858000"/>
              <a:gd name="connsiteX36" fmla="*/ 11000133 w 12192000"/>
              <a:gd name="connsiteY36" fmla="*/ 778830 h 6858000"/>
              <a:gd name="connsiteX37" fmla="*/ 11006301 w 12192000"/>
              <a:gd name="connsiteY37" fmla="*/ 774341 h 6858000"/>
              <a:gd name="connsiteX38" fmla="*/ 11016886 w 12192000"/>
              <a:gd name="connsiteY38" fmla="*/ 771348 h 6858000"/>
              <a:gd name="connsiteX39" fmla="*/ 11032215 w 12192000"/>
              <a:gd name="connsiteY39" fmla="*/ 769924 h 6858000"/>
              <a:gd name="connsiteX40" fmla="*/ 11363804 w 12192000"/>
              <a:gd name="connsiteY40" fmla="*/ 741310 h 6858000"/>
              <a:gd name="connsiteX41" fmla="*/ 11373731 w 12192000"/>
              <a:gd name="connsiteY41" fmla="*/ 743500 h 6858000"/>
              <a:gd name="connsiteX42" fmla="*/ 11381652 w 12192000"/>
              <a:gd name="connsiteY42" fmla="*/ 751091 h 6858000"/>
              <a:gd name="connsiteX43" fmla="*/ 11381688 w 12192000"/>
              <a:gd name="connsiteY43" fmla="*/ 751091 h 6858000"/>
              <a:gd name="connsiteX44" fmla="*/ 11381688 w 12192000"/>
              <a:gd name="connsiteY44" fmla="*/ 783904 h 6858000"/>
              <a:gd name="connsiteX45" fmla="*/ 11372710 w 12192000"/>
              <a:gd name="connsiteY45" fmla="*/ 792882 h 6858000"/>
              <a:gd name="connsiteX46" fmla="*/ 11361468 w 12192000"/>
              <a:gd name="connsiteY46" fmla="*/ 796094 h 6858000"/>
              <a:gd name="connsiteX47" fmla="*/ 11346686 w 12192000"/>
              <a:gd name="connsiteY47" fmla="*/ 789524 h 6858000"/>
              <a:gd name="connsiteX48" fmla="*/ 11341576 w 12192000"/>
              <a:gd name="connsiteY48" fmla="*/ 769049 h 6858000"/>
              <a:gd name="connsiteX49" fmla="*/ 11343000 w 12192000"/>
              <a:gd name="connsiteY49" fmla="*/ 757807 h 6858000"/>
              <a:gd name="connsiteX50" fmla="*/ 11347197 w 12192000"/>
              <a:gd name="connsiteY50" fmla="*/ 749011 h 6858000"/>
              <a:gd name="connsiteX51" fmla="*/ 11354132 w 12192000"/>
              <a:gd name="connsiteY51" fmla="*/ 743317 h 6858000"/>
              <a:gd name="connsiteX52" fmla="*/ 11363804 w 12192000"/>
              <a:gd name="connsiteY52" fmla="*/ 741310 h 6858000"/>
              <a:gd name="connsiteX53" fmla="*/ 11432604 w 12192000"/>
              <a:gd name="connsiteY53" fmla="*/ 741126 h 6858000"/>
              <a:gd name="connsiteX54" fmla="*/ 11440415 w 12192000"/>
              <a:gd name="connsiteY54" fmla="*/ 742586 h 6858000"/>
              <a:gd name="connsiteX55" fmla="*/ 11446546 w 12192000"/>
              <a:gd name="connsiteY55" fmla="*/ 746820 h 6858000"/>
              <a:gd name="connsiteX56" fmla="*/ 11450525 w 12192000"/>
              <a:gd name="connsiteY56" fmla="*/ 753572 h 6858000"/>
              <a:gd name="connsiteX57" fmla="*/ 11451948 w 12192000"/>
              <a:gd name="connsiteY57" fmla="*/ 762587 h 6858000"/>
              <a:gd name="connsiteX58" fmla="*/ 11410595 w 12192000"/>
              <a:gd name="connsiteY58" fmla="*/ 762587 h 6858000"/>
              <a:gd name="connsiteX59" fmla="*/ 11412858 w 12192000"/>
              <a:gd name="connsiteY59" fmla="*/ 753755 h 6858000"/>
              <a:gd name="connsiteX60" fmla="*/ 11417347 w 12192000"/>
              <a:gd name="connsiteY60" fmla="*/ 746966 h 6858000"/>
              <a:gd name="connsiteX61" fmla="*/ 11423954 w 12192000"/>
              <a:gd name="connsiteY61" fmla="*/ 742623 h 6858000"/>
              <a:gd name="connsiteX62" fmla="*/ 11432604 w 12192000"/>
              <a:gd name="connsiteY62" fmla="*/ 741126 h 6858000"/>
              <a:gd name="connsiteX63" fmla="*/ 11110139 w 12192000"/>
              <a:gd name="connsiteY63" fmla="*/ 741126 h 6858000"/>
              <a:gd name="connsiteX64" fmla="*/ 11117950 w 12192000"/>
              <a:gd name="connsiteY64" fmla="*/ 742586 h 6858000"/>
              <a:gd name="connsiteX65" fmla="*/ 11124081 w 12192000"/>
              <a:gd name="connsiteY65" fmla="*/ 746820 h 6858000"/>
              <a:gd name="connsiteX66" fmla="*/ 11128060 w 12192000"/>
              <a:gd name="connsiteY66" fmla="*/ 753572 h 6858000"/>
              <a:gd name="connsiteX67" fmla="*/ 11129483 w 12192000"/>
              <a:gd name="connsiteY67" fmla="*/ 762587 h 6858000"/>
              <a:gd name="connsiteX68" fmla="*/ 11088130 w 12192000"/>
              <a:gd name="connsiteY68" fmla="*/ 762587 h 6858000"/>
              <a:gd name="connsiteX69" fmla="*/ 11090393 w 12192000"/>
              <a:gd name="connsiteY69" fmla="*/ 753755 h 6858000"/>
              <a:gd name="connsiteX70" fmla="*/ 11094882 w 12192000"/>
              <a:gd name="connsiteY70" fmla="*/ 746966 h 6858000"/>
              <a:gd name="connsiteX71" fmla="*/ 11101489 w 12192000"/>
              <a:gd name="connsiteY71" fmla="*/ 742623 h 6858000"/>
              <a:gd name="connsiteX72" fmla="*/ 11110139 w 12192000"/>
              <a:gd name="connsiteY72" fmla="*/ 741126 h 6858000"/>
              <a:gd name="connsiteX73" fmla="*/ 11143791 w 12192000"/>
              <a:gd name="connsiteY73" fmla="*/ 737659 h 6858000"/>
              <a:gd name="connsiteX74" fmla="*/ 11165617 w 12192000"/>
              <a:gd name="connsiteY74" fmla="*/ 768135 h 6858000"/>
              <a:gd name="connsiteX75" fmla="*/ 11142915 w 12192000"/>
              <a:gd name="connsiteY75" fmla="*/ 800072 h 6858000"/>
              <a:gd name="connsiteX76" fmla="*/ 11148317 w 12192000"/>
              <a:gd name="connsiteY76" fmla="*/ 800072 h 6858000"/>
              <a:gd name="connsiteX77" fmla="*/ 11149558 w 12192000"/>
              <a:gd name="connsiteY77" fmla="*/ 799561 h 6858000"/>
              <a:gd name="connsiteX78" fmla="*/ 11150470 w 12192000"/>
              <a:gd name="connsiteY78" fmla="*/ 798502 h 6858000"/>
              <a:gd name="connsiteX79" fmla="*/ 11168537 w 12192000"/>
              <a:gd name="connsiteY79" fmla="*/ 773026 h 6858000"/>
              <a:gd name="connsiteX80" fmla="*/ 11169486 w 12192000"/>
              <a:gd name="connsiteY80" fmla="*/ 770836 h 6858000"/>
              <a:gd name="connsiteX81" fmla="*/ 11188429 w 12192000"/>
              <a:gd name="connsiteY81" fmla="*/ 798502 h 6858000"/>
              <a:gd name="connsiteX82" fmla="*/ 11189232 w 12192000"/>
              <a:gd name="connsiteY82" fmla="*/ 799524 h 6858000"/>
              <a:gd name="connsiteX83" fmla="*/ 11190619 w 12192000"/>
              <a:gd name="connsiteY83" fmla="*/ 800072 h 6858000"/>
              <a:gd name="connsiteX84" fmla="*/ 11196312 w 12192000"/>
              <a:gd name="connsiteY84" fmla="*/ 800072 h 6858000"/>
              <a:gd name="connsiteX85" fmla="*/ 11173647 w 12192000"/>
              <a:gd name="connsiteY85" fmla="*/ 767770 h 6858000"/>
              <a:gd name="connsiteX86" fmla="*/ 11195400 w 12192000"/>
              <a:gd name="connsiteY86" fmla="*/ 737659 h 6858000"/>
              <a:gd name="connsiteX87" fmla="*/ 11189925 w 12192000"/>
              <a:gd name="connsiteY87" fmla="*/ 737659 h 6858000"/>
              <a:gd name="connsiteX88" fmla="*/ 11188794 w 12192000"/>
              <a:gd name="connsiteY88" fmla="*/ 738024 h 6858000"/>
              <a:gd name="connsiteX89" fmla="*/ 11187991 w 12192000"/>
              <a:gd name="connsiteY89" fmla="*/ 738973 h 6858000"/>
              <a:gd name="connsiteX90" fmla="*/ 11170873 w 12192000"/>
              <a:gd name="connsiteY90" fmla="*/ 763135 h 6858000"/>
              <a:gd name="connsiteX91" fmla="*/ 11170289 w 12192000"/>
              <a:gd name="connsiteY91" fmla="*/ 764266 h 6858000"/>
              <a:gd name="connsiteX92" fmla="*/ 11169887 w 12192000"/>
              <a:gd name="connsiteY92" fmla="*/ 765325 h 6858000"/>
              <a:gd name="connsiteX93" fmla="*/ 11151565 w 12192000"/>
              <a:gd name="connsiteY93" fmla="*/ 738900 h 6858000"/>
              <a:gd name="connsiteX94" fmla="*/ 11150799 w 12192000"/>
              <a:gd name="connsiteY94" fmla="*/ 738024 h 6858000"/>
              <a:gd name="connsiteX95" fmla="*/ 11149485 w 12192000"/>
              <a:gd name="connsiteY95" fmla="*/ 737659 h 6858000"/>
              <a:gd name="connsiteX96" fmla="*/ 11432494 w 12192000"/>
              <a:gd name="connsiteY96" fmla="*/ 736710 h 6858000"/>
              <a:gd name="connsiteX97" fmla="*/ 11420596 w 12192000"/>
              <a:gd name="connsiteY97" fmla="*/ 739046 h 6858000"/>
              <a:gd name="connsiteX98" fmla="*/ 11411763 w 12192000"/>
              <a:gd name="connsiteY98" fmla="*/ 745470 h 6858000"/>
              <a:gd name="connsiteX99" fmla="*/ 11406252 w 12192000"/>
              <a:gd name="connsiteY99" fmla="*/ 755251 h 6858000"/>
              <a:gd name="connsiteX100" fmla="*/ 11404354 w 12192000"/>
              <a:gd name="connsiteY100" fmla="*/ 767624 h 6858000"/>
              <a:gd name="connsiteX101" fmla="*/ 11406398 w 12192000"/>
              <a:gd name="connsiteY101" fmla="*/ 781786 h 6858000"/>
              <a:gd name="connsiteX102" fmla="*/ 11412201 w 12192000"/>
              <a:gd name="connsiteY102" fmla="*/ 792224 h 6858000"/>
              <a:gd name="connsiteX103" fmla="*/ 11421216 w 12192000"/>
              <a:gd name="connsiteY103" fmla="*/ 798721 h 6858000"/>
              <a:gd name="connsiteX104" fmla="*/ 11432896 w 12192000"/>
              <a:gd name="connsiteY104" fmla="*/ 800947 h 6858000"/>
              <a:gd name="connsiteX105" fmla="*/ 11439904 w 12192000"/>
              <a:gd name="connsiteY105" fmla="*/ 800254 h 6858000"/>
              <a:gd name="connsiteX106" fmla="*/ 11446437 w 12192000"/>
              <a:gd name="connsiteY106" fmla="*/ 798393 h 6858000"/>
              <a:gd name="connsiteX107" fmla="*/ 11451948 w 12192000"/>
              <a:gd name="connsiteY107" fmla="*/ 795619 h 6858000"/>
              <a:gd name="connsiteX108" fmla="*/ 11455926 w 12192000"/>
              <a:gd name="connsiteY108" fmla="*/ 792115 h 6858000"/>
              <a:gd name="connsiteX109" fmla="*/ 11454284 w 12192000"/>
              <a:gd name="connsiteY109" fmla="*/ 790107 h 6858000"/>
              <a:gd name="connsiteX110" fmla="*/ 11453043 w 12192000"/>
              <a:gd name="connsiteY110" fmla="*/ 789487 h 6858000"/>
              <a:gd name="connsiteX111" fmla="*/ 11451036 w 12192000"/>
              <a:gd name="connsiteY111" fmla="*/ 790509 h 6858000"/>
              <a:gd name="connsiteX112" fmla="*/ 11447313 w 12192000"/>
              <a:gd name="connsiteY112" fmla="*/ 792845 h 6858000"/>
              <a:gd name="connsiteX113" fmla="*/ 11441510 w 12192000"/>
              <a:gd name="connsiteY113" fmla="*/ 795181 h 6858000"/>
              <a:gd name="connsiteX114" fmla="*/ 11433370 w 12192000"/>
              <a:gd name="connsiteY114" fmla="*/ 796203 h 6858000"/>
              <a:gd name="connsiteX115" fmla="*/ 11423844 w 12192000"/>
              <a:gd name="connsiteY115" fmla="*/ 794378 h 6858000"/>
              <a:gd name="connsiteX116" fmla="*/ 11416581 w 12192000"/>
              <a:gd name="connsiteY116" fmla="*/ 788939 h 6858000"/>
              <a:gd name="connsiteX117" fmla="*/ 11411946 w 12192000"/>
              <a:gd name="connsiteY117" fmla="*/ 779997 h 6858000"/>
              <a:gd name="connsiteX118" fmla="*/ 11410303 w 12192000"/>
              <a:gd name="connsiteY118" fmla="*/ 767624 h 6858000"/>
              <a:gd name="connsiteX119" fmla="*/ 11410303 w 12192000"/>
              <a:gd name="connsiteY119" fmla="*/ 766493 h 6858000"/>
              <a:gd name="connsiteX120" fmla="*/ 11455671 w 12192000"/>
              <a:gd name="connsiteY120" fmla="*/ 766493 h 6858000"/>
              <a:gd name="connsiteX121" fmla="*/ 11456912 w 12192000"/>
              <a:gd name="connsiteY121" fmla="*/ 765982 h 6858000"/>
              <a:gd name="connsiteX122" fmla="*/ 11457277 w 12192000"/>
              <a:gd name="connsiteY122" fmla="*/ 764084 h 6858000"/>
              <a:gd name="connsiteX123" fmla="*/ 11455379 w 12192000"/>
              <a:gd name="connsiteY123" fmla="*/ 752404 h 6858000"/>
              <a:gd name="connsiteX124" fmla="*/ 11450123 w 12192000"/>
              <a:gd name="connsiteY124" fmla="*/ 743827 h 6858000"/>
              <a:gd name="connsiteX125" fmla="*/ 11442276 w 12192000"/>
              <a:gd name="connsiteY125" fmla="*/ 738535 h 6858000"/>
              <a:gd name="connsiteX126" fmla="*/ 11432494 w 12192000"/>
              <a:gd name="connsiteY126" fmla="*/ 736710 h 6858000"/>
              <a:gd name="connsiteX127" fmla="*/ 11110029 w 12192000"/>
              <a:gd name="connsiteY127" fmla="*/ 736710 h 6858000"/>
              <a:gd name="connsiteX128" fmla="*/ 11098131 w 12192000"/>
              <a:gd name="connsiteY128" fmla="*/ 739046 h 6858000"/>
              <a:gd name="connsiteX129" fmla="*/ 11089298 w 12192000"/>
              <a:gd name="connsiteY129" fmla="*/ 745470 h 6858000"/>
              <a:gd name="connsiteX130" fmla="*/ 11083787 w 12192000"/>
              <a:gd name="connsiteY130" fmla="*/ 755251 h 6858000"/>
              <a:gd name="connsiteX131" fmla="*/ 11081889 w 12192000"/>
              <a:gd name="connsiteY131" fmla="*/ 767624 h 6858000"/>
              <a:gd name="connsiteX132" fmla="*/ 11083933 w 12192000"/>
              <a:gd name="connsiteY132" fmla="*/ 781786 h 6858000"/>
              <a:gd name="connsiteX133" fmla="*/ 11089736 w 12192000"/>
              <a:gd name="connsiteY133" fmla="*/ 792224 h 6858000"/>
              <a:gd name="connsiteX134" fmla="*/ 11098751 w 12192000"/>
              <a:gd name="connsiteY134" fmla="*/ 798721 h 6858000"/>
              <a:gd name="connsiteX135" fmla="*/ 11110431 w 12192000"/>
              <a:gd name="connsiteY135" fmla="*/ 800947 h 6858000"/>
              <a:gd name="connsiteX136" fmla="*/ 11117439 w 12192000"/>
              <a:gd name="connsiteY136" fmla="*/ 800254 h 6858000"/>
              <a:gd name="connsiteX137" fmla="*/ 11123972 w 12192000"/>
              <a:gd name="connsiteY137" fmla="*/ 798393 h 6858000"/>
              <a:gd name="connsiteX138" fmla="*/ 11129483 w 12192000"/>
              <a:gd name="connsiteY138" fmla="*/ 795619 h 6858000"/>
              <a:gd name="connsiteX139" fmla="*/ 11133461 w 12192000"/>
              <a:gd name="connsiteY139" fmla="*/ 792115 h 6858000"/>
              <a:gd name="connsiteX140" fmla="*/ 11131819 w 12192000"/>
              <a:gd name="connsiteY140" fmla="*/ 790107 h 6858000"/>
              <a:gd name="connsiteX141" fmla="*/ 11130578 w 12192000"/>
              <a:gd name="connsiteY141" fmla="*/ 789487 h 6858000"/>
              <a:gd name="connsiteX142" fmla="*/ 11128571 w 12192000"/>
              <a:gd name="connsiteY142" fmla="*/ 790509 h 6858000"/>
              <a:gd name="connsiteX143" fmla="*/ 11124848 w 12192000"/>
              <a:gd name="connsiteY143" fmla="*/ 792845 h 6858000"/>
              <a:gd name="connsiteX144" fmla="*/ 11119045 w 12192000"/>
              <a:gd name="connsiteY144" fmla="*/ 795181 h 6858000"/>
              <a:gd name="connsiteX145" fmla="*/ 11110905 w 12192000"/>
              <a:gd name="connsiteY145" fmla="*/ 796203 h 6858000"/>
              <a:gd name="connsiteX146" fmla="*/ 11101379 w 12192000"/>
              <a:gd name="connsiteY146" fmla="*/ 794378 h 6858000"/>
              <a:gd name="connsiteX147" fmla="*/ 11094116 w 12192000"/>
              <a:gd name="connsiteY147" fmla="*/ 788939 h 6858000"/>
              <a:gd name="connsiteX148" fmla="*/ 11089481 w 12192000"/>
              <a:gd name="connsiteY148" fmla="*/ 779997 h 6858000"/>
              <a:gd name="connsiteX149" fmla="*/ 11087838 w 12192000"/>
              <a:gd name="connsiteY149" fmla="*/ 767624 h 6858000"/>
              <a:gd name="connsiteX150" fmla="*/ 11087838 w 12192000"/>
              <a:gd name="connsiteY150" fmla="*/ 766493 h 6858000"/>
              <a:gd name="connsiteX151" fmla="*/ 11133206 w 12192000"/>
              <a:gd name="connsiteY151" fmla="*/ 766493 h 6858000"/>
              <a:gd name="connsiteX152" fmla="*/ 11134447 w 12192000"/>
              <a:gd name="connsiteY152" fmla="*/ 765982 h 6858000"/>
              <a:gd name="connsiteX153" fmla="*/ 11134812 w 12192000"/>
              <a:gd name="connsiteY153" fmla="*/ 764084 h 6858000"/>
              <a:gd name="connsiteX154" fmla="*/ 11132914 w 12192000"/>
              <a:gd name="connsiteY154" fmla="*/ 752404 h 6858000"/>
              <a:gd name="connsiteX155" fmla="*/ 11127658 w 12192000"/>
              <a:gd name="connsiteY155" fmla="*/ 743827 h 6858000"/>
              <a:gd name="connsiteX156" fmla="*/ 11119811 w 12192000"/>
              <a:gd name="connsiteY156" fmla="*/ 738535 h 6858000"/>
              <a:gd name="connsiteX157" fmla="*/ 11110029 w 12192000"/>
              <a:gd name="connsiteY157" fmla="*/ 736710 h 6858000"/>
              <a:gd name="connsiteX158" fmla="*/ 11298399 w 12192000"/>
              <a:gd name="connsiteY158" fmla="*/ 736674 h 6858000"/>
              <a:gd name="connsiteX159" fmla="*/ 11285770 w 12192000"/>
              <a:gd name="connsiteY159" fmla="*/ 739922 h 6858000"/>
              <a:gd name="connsiteX160" fmla="*/ 11275770 w 12192000"/>
              <a:gd name="connsiteY160" fmla="*/ 748573 h 6858000"/>
              <a:gd name="connsiteX161" fmla="*/ 11275222 w 12192000"/>
              <a:gd name="connsiteY161" fmla="*/ 739265 h 6858000"/>
              <a:gd name="connsiteX162" fmla="*/ 11273397 w 12192000"/>
              <a:gd name="connsiteY162" fmla="*/ 737696 h 6858000"/>
              <a:gd name="connsiteX163" fmla="*/ 11270076 w 12192000"/>
              <a:gd name="connsiteY163" fmla="*/ 737696 h 6858000"/>
              <a:gd name="connsiteX164" fmla="*/ 11270076 w 12192000"/>
              <a:gd name="connsiteY164" fmla="*/ 800109 h 6858000"/>
              <a:gd name="connsiteX165" fmla="*/ 11276062 w 12192000"/>
              <a:gd name="connsiteY165" fmla="*/ 800109 h 6858000"/>
              <a:gd name="connsiteX166" fmla="*/ 11276062 w 12192000"/>
              <a:gd name="connsiteY166" fmla="*/ 753171 h 6858000"/>
              <a:gd name="connsiteX167" fmla="*/ 11285515 w 12192000"/>
              <a:gd name="connsiteY167" fmla="*/ 744558 h 6858000"/>
              <a:gd name="connsiteX168" fmla="*/ 11296902 w 12192000"/>
              <a:gd name="connsiteY168" fmla="*/ 741455 h 6858000"/>
              <a:gd name="connsiteX169" fmla="*/ 11309129 w 12192000"/>
              <a:gd name="connsiteY169" fmla="*/ 746456 h 6858000"/>
              <a:gd name="connsiteX170" fmla="*/ 11313144 w 12192000"/>
              <a:gd name="connsiteY170" fmla="*/ 760216 h 6858000"/>
              <a:gd name="connsiteX171" fmla="*/ 11313144 w 12192000"/>
              <a:gd name="connsiteY171" fmla="*/ 800109 h 6858000"/>
              <a:gd name="connsiteX172" fmla="*/ 11319167 w 12192000"/>
              <a:gd name="connsiteY172" fmla="*/ 800109 h 6858000"/>
              <a:gd name="connsiteX173" fmla="*/ 11319167 w 12192000"/>
              <a:gd name="connsiteY173" fmla="*/ 760216 h 6858000"/>
              <a:gd name="connsiteX174" fmla="*/ 11317853 w 12192000"/>
              <a:gd name="connsiteY174" fmla="*/ 750434 h 6858000"/>
              <a:gd name="connsiteX175" fmla="*/ 11313947 w 12192000"/>
              <a:gd name="connsiteY175" fmla="*/ 743025 h 6858000"/>
              <a:gd name="connsiteX176" fmla="*/ 11307451 w 12192000"/>
              <a:gd name="connsiteY176" fmla="*/ 738316 h 6858000"/>
              <a:gd name="connsiteX177" fmla="*/ 11298399 w 12192000"/>
              <a:gd name="connsiteY177" fmla="*/ 736674 h 6858000"/>
              <a:gd name="connsiteX178" fmla="*/ 11498886 w 12192000"/>
              <a:gd name="connsiteY178" fmla="*/ 736637 h 6858000"/>
              <a:gd name="connsiteX179" fmla="*/ 11492279 w 12192000"/>
              <a:gd name="connsiteY179" fmla="*/ 737732 h 6858000"/>
              <a:gd name="connsiteX180" fmla="*/ 11486877 w 12192000"/>
              <a:gd name="connsiteY180" fmla="*/ 740907 h 6858000"/>
              <a:gd name="connsiteX181" fmla="*/ 11482607 w 12192000"/>
              <a:gd name="connsiteY181" fmla="*/ 745944 h 6858000"/>
              <a:gd name="connsiteX182" fmla="*/ 11479322 w 12192000"/>
              <a:gd name="connsiteY182" fmla="*/ 752733 h 6858000"/>
              <a:gd name="connsiteX183" fmla="*/ 11478848 w 12192000"/>
              <a:gd name="connsiteY183" fmla="*/ 739666 h 6858000"/>
              <a:gd name="connsiteX184" fmla="*/ 11478300 w 12192000"/>
              <a:gd name="connsiteY184" fmla="*/ 738170 h 6858000"/>
              <a:gd name="connsiteX185" fmla="*/ 11476804 w 12192000"/>
              <a:gd name="connsiteY185" fmla="*/ 737732 h 6858000"/>
              <a:gd name="connsiteX186" fmla="*/ 11473592 w 12192000"/>
              <a:gd name="connsiteY186" fmla="*/ 737732 h 6858000"/>
              <a:gd name="connsiteX187" fmla="*/ 11473592 w 12192000"/>
              <a:gd name="connsiteY187" fmla="*/ 800145 h 6858000"/>
              <a:gd name="connsiteX188" fmla="*/ 11479614 w 12192000"/>
              <a:gd name="connsiteY188" fmla="*/ 800145 h 6858000"/>
              <a:gd name="connsiteX189" fmla="*/ 11479614 w 12192000"/>
              <a:gd name="connsiteY189" fmla="*/ 759741 h 6858000"/>
              <a:gd name="connsiteX190" fmla="*/ 11482644 w 12192000"/>
              <a:gd name="connsiteY190" fmla="*/ 752295 h 6858000"/>
              <a:gd name="connsiteX191" fmla="*/ 11486549 w 12192000"/>
              <a:gd name="connsiteY191" fmla="*/ 746857 h 6858000"/>
              <a:gd name="connsiteX192" fmla="*/ 11491549 w 12192000"/>
              <a:gd name="connsiteY192" fmla="*/ 743572 h 6858000"/>
              <a:gd name="connsiteX193" fmla="*/ 11497973 w 12192000"/>
              <a:gd name="connsiteY193" fmla="*/ 742477 h 6858000"/>
              <a:gd name="connsiteX194" fmla="*/ 11502024 w 12192000"/>
              <a:gd name="connsiteY194" fmla="*/ 742915 h 6858000"/>
              <a:gd name="connsiteX195" fmla="*/ 11504324 w 12192000"/>
              <a:gd name="connsiteY195" fmla="*/ 743353 h 6858000"/>
              <a:gd name="connsiteX196" fmla="*/ 11505528 w 12192000"/>
              <a:gd name="connsiteY196" fmla="*/ 742331 h 6858000"/>
              <a:gd name="connsiteX197" fmla="*/ 11506039 w 12192000"/>
              <a:gd name="connsiteY197" fmla="*/ 738206 h 6858000"/>
              <a:gd name="connsiteX198" fmla="*/ 11502718 w 12192000"/>
              <a:gd name="connsiteY198" fmla="*/ 736965 h 6858000"/>
              <a:gd name="connsiteX199" fmla="*/ 11498886 w 12192000"/>
              <a:gd name="connsiteY199" fmla="*/ 736637 h 6858000"/>
              <a:gd name="connsiteX200" fmla="*/ 11230110 w 12192000"/>
              <a:gd name="connsiteY200" fmla="*/ 736601 h 6858000"/>
              <a:gd name="connsiteX201" fmla="*/ 11217883 w 12192000"/>
              <a:gd name="connsiteY201" fmla="*/ 739119 h 6858000"/>
              <a:gd name="connsiteX202" fmla="*/ 11207590 w 12192000"/>
              <a:gd name="connsiteY202" fmla="*/ 746529 h 6858000"/>
              <a:gd name="connsiteX203" fmla="*/ 11208649 w 12192000"/>
              <a:gd name="connsiteY203" fmla="*/ 748354 h 6858000"/>
              <a:gd name="connsiteX204" fmla="*/ 11209415 w 12192000"/>
              <a:gd name="connsiteY204" fmla="*/ 749157 h 6858000"/>
              <a:gd name="connsiteX205" fmla="*/ 11210547 w 12192000"/>
              <a:gd name="connsiteY205" fmla="*/ 749485 h 6858000"/>
              <a:gd name="connsiteX206" fmla="*/ 11212883 w 12192000"/>
              <a:gd name="connsiteY206" fmla="*/ 748244 h 6858000"/>
              <a:gd name="connsiteX207" fmla="*/ 11216460 w 12192000"/>
              <a:gd name="connsiteY207" fmla="*/ 745470 h 6858000"/>
              <a:gd name="connsiteX208" fmla="*/ 11221825 w 12192000"/>
              <a:gd name="connsiteY208" fmla="*/ 742696 h 6858000"/>
              <a:gd name="connsiteX209" fmla="*/ 11229526 w 12192000"/>
              <a:gd name="connsiteY209" fmla="*/ 741455 h 6858000"/>
              <a:gd name="connsiteX210" fmla="*/ 11240585 w 12192000"/>
              <a:gd name="connsiteY210" fmla="*/ 746127 h 6858000"/>
              <a:gd name="connsiteX211" fmla="*/ 11244308 w 12192000"/>
              <a:gd name="connsiteY211" fmla="*/ 759449 h 6858000"/>
              <a:gd name="connsiteX212" fmla="*/ 11244308 w 12192000"/>
              <a:gd name="connsiteY212" fmla="*/ 765982 h 6858000"/>
              <a:gd name="connsiteX213" fmla="*/ 11226132 w 12192000"/>
              <a:gd name="connsiteY213" fmla="*/ 767734 h 6858000"/>
              <a:gd name="connsiteX214" fmla="*/ 11213759 w 12192000"/>
              <a:gd name="connsiteY214" fmla="*/ 771749 h 6858000"/>
              <a:gd name="connsiteX215" fmla="*/ 11206678 w 12192000"/>
              <a:gd name="connsiteY215" fmla="*/ 777662 h 6858000"/>
              <a:gd name="connsiteX216" fmla="*/ 11204415 w 12192000"/>
              <a:gd name="connsiteY216" fmla="*/ 784998 h 6858000"/>
              <a:gd name="connsiteX217" fmla="*/ 11205838 w 12192000"/>
              <a:gd name="connsiteY217" fmla="*/ 792298 h 6858000"/>
              <a:gd name="connsiteX218" fmla="*/ 11209598 w 12192000"/>
              <a:gd name="connsiteY218" fmla="*/ 797298 h 6858000"/>
              <a:gd name="connsiteX219" fmla="*/ 11214963 w 12192000"/>
              <a:gd name="connsiteY219" fmla="*/ 800181 h 6858000"/>
              <a:gd name="connsiteX220" fmla="*/ 11221168 w 12192000"/>
              <a:gd name="connsiteY220" fmla="*/ 801130 h 6858000"/>
              <a:gd name="connsiteX221" fmla="*/ 11228176 w 12192000"/>
              <a:gd name="connsiteY221" fmla="*/ 800364 h 6858000"/>
              <a:gd name="connsiteX222" fmla="*/ 11234125 w 12192000"/>
              <a:gd name="connsiteY222" fmla="*/ 798247 h 6858000"/>
              <a:gd name="connsiteX223" fmla="*/ 11239417 w 12192000"/>
              <a:gd name="connsiteY223" fmla="*/ 794853 h 6858000"/>
              <a:gd name="connsiteX224" fmla="*/ 11244527 w 12192000"/>
              <a:gd name="connsiteY224" fmla="*/ 790327 h 6858000"/>
              <a:gd name="connsiteX225" fmla="*/ 11245403 w 12192000"/>
              <a:gd name="connsiteY225" fmla="*/ 798357 h 6858000"/>
              <a:gd name="connsiteX226" fmla="*/ 11247739 w 12192000"/>
              <a:gd name="connsiteY226" fmla="*/ 800109 h 6858000"/>
              <a:gd name="connsiteX227" fmla="*/ 11250111 w 12192000"/>
              <a:gd name="connsiteY227" fmla="*/ 800109 h 6858000"/>
              <a:gd name="connsiteX228" fmla="*/ 11250111 w 12192000"/>
              <a:gd name="connsiteY228" fmla="*/ 759449 h 6858000"/>
              <a:gd name="connsiteX229" fmla="*/ 11248870 w 12192000"/>
              <a:gd name="connsiteY229" fmla="*/ 749996 h 6858000"/>
              <a:gd name="connsiteX230" fmla="*/ 11245147 w 12192000"/>
              <a:gd name="connsiteY230" fmla="*/ 742769 h 6858000"/>
              <a:gd name="connsiteX231" fmla="*/ 11238906 w 12192000"/>
              <a:gd name="connsiteY231" fmla="*/ 738207 h 6858000"/>
              <a:gd name="connsiteX232" fmla="*/ 11230110 w 12192000"/>
              <a:gd name="connsiteY232" fmla="*/ 736601 h 6858000"/>
              <a:gd name="connsiteX233" fmla="*/ 11018017 w 12192000"/>
              <a:gd name="connsiteY233" fmla="*/ 736601 h 6858000"/>
              <a:gd name="connsiteX234" fmla="*/ 11005790 w 12192000"/>
              <a:gd name="connsiteY234" fmla="*/ 739119 h 6858000"/>
              <a:gd name="connsiteX235" fmla="*/ 10995497 w 12192000"/>
              <a:gd name="connsiteY235" fmla="*/ 746529 h 6858000"/>
              <a:gd name="connsiteX236" fmla="*/ 10996556 w 12192000"/>
              <a:gd name="connsiteY236" fmla="*/ 748354 h 6858000"/>
              <a:gd name="connsiteX237" fmla="*/ 10997322 w 12192000"/>
              <a:gd name="connsiteY237" fmla="*/ 749157 h 6858000"/>
              <a:gd name="connsiteX238" fmla="*/ 10998454 w 12192000"/>
              <a:gd name="connsiteY238" fmla="*/ 749485 h 6858000"/>
              <a:gd name="connsiteX239" fmla="*/ 11000790 w 12192000"/>
              <a:gd name="connsiteY239" fmla="*/ 748244 h 6858000"/>
              <a:gd name="connsiteX240" fmla="*/ 11004367 w 12192000"/>
              <a:gd name="connsiteY240" fmla="*/ 745470 h 6858000"/>
              <a:gd name="connsiteX241" fmla="*/ 11009732 w 12192000"/>
              <a:gd name="connsiteY241" fmla="*/ 742696 h 6858000"/>
              <a:gd name="connsiteX242" fmla="*/ 11017433 w 12192000"/>
              <a:gd name="connsiteY242" fmla="*/ 741455 h 6858000"/>
              <a:gd name="connsiteX243" fmla="*/ 11028492 w 12192000"/>
              <a:gd name="connsiteY243" fmla="*/ 746127 h 6858000"/>
              <a:gd name="connsiteX244" fmla="*/ 11032215 w 12192000"/>
              <a:gd name="connsiteY244" fmla="*/ 759449 h 6858000"/>
              <a:gd name="connsiteX245" fmla="*/ 11032215 w 12192000"/>
              <a:gd name="connsiteY245" fmla="*/ 765982 h 6858000"/>
              <a:gd name="connsiteX246" fmla="*/ 11014039 w 12192000"/>
              <a:gd name="connsiteY246" fmla="*/ 767734 h 6858000"/>
              <a:gd name="connsiteX247" fmla="*/ 11001666 w 12192000"/>
              <a:gd name="connsiteY247" fmla="*/ 771749 h 6858000"/>
              <a:gd name="connsiteX248" fmla="*/ 10994585 w 12192000"/>
              <a:gd name="connsiteY248" fmla="*/ 777662 h 6858000"/>
              <a:gd name="connsiteX249" fmla="*/ 10992322 w 12192000"/>
              <a:gd name="connsiteY249" fmla="*/ 784998 h 6858000"/>
              <a:gd name="connsiteX250" fmla="*/ 10993745 w 12192000"/>
              <a:gd name="connsiteY250" fmla="*/ 792298 h 6858000"/>
              <a:gd name="connsiteX251" fmla="*/ 10997505 w 12192000"/>
              <a:gd name="connsiteY251" fmla="*/ 797298 h 6858000"/>
              <a:gd name="connsiteX252" fmla="*/ 11002870 w 12192000"/>
              <a:gd name="connsiteY252" fmla="*/ 800181 h 6858000"/>
              <a:gd name="connsiteX253" fmla="*/ 11009075 w 12192000"/>
              <a:gd name="connsiteY253" fmla="*/ 801130 h 6858000"/>
              <a:gd name="connsiteX254" fmla="*/ 11016083 w 12192000"/>
              <a:gd name="connsiteY254" fmla="*/ 800364 h 6858000"/>
              <a:gd name="connsiteX255" fmla="*/ 11022032 w 12192000"/>
              <a:gd name="connsiteY255" fmla="*/ 798247 h 6858000"/>
              <a:gd name="connsiteX256" fmla="*/ 11027324 w 12192000"/>
              <a:gd name="connsiteY256" fmla="*/ 794853 h 6858000"/>
              <a:gd name="connsiteX257" fmla="*/ 11032434 w 12192000"/>
              <a:gd name="connsiteY257" fmla="*/ 790327 h 6858000"/>
              <a:gd name="connsiteX258" fmla="*/ 11033310 w 12192000"/>
              <a:gd name="connsiteY258" fmla="*/ 798357 h 6858000"/>
              <a:gd name="connsiteX259" fmla="*/ 11035646 w 12192000"/>
              <a:gd name="connsiteY259" fmla="*/ 800109 h 6858000"/>
              <a:gd name="connsiteX260" fmla="*/ 11038018 w 12192000"/>
              <a:gd name="connsiteY260" fmla="*/ 800109 h 6858000"/>
              <a:gd name="connsiteX261" fmla="*/ 11038018 w 12192000"/>
              <a:gd name="connsiteY261" fmla="*/ 759449 h 6858000"/>
              <a:gd name="connsiteX262" fmla="*/ 11036777 w 12192000"/>
              <a:gd name="connsiteY262" fmla="*/ 749996 h 6858000"/>
              <a:gd name="connsiteX263" fmla="*/ 11033054 w 12192000"/>
              <a:gd name="connsiteY263" fmla="*/ 742769 h 6858000"/>
              <a:gd name="connsiteX264" fmla="*/ 11026813 w 12192000"/>
              <a:gd name="connsiteY264" fmla="*/ 738207 h 6858000"/>
              <a:gd name="connsiteX265" fmla="*/ 11018017 w 12192000"/>
              <a:gd name="connsiteY265" fmla="*/ 736601 h 6858000"/>
              <a:gd name="connsiteX266" fmla="*/ 11832117 w 12192000"/>
              <a:gd name="connsiteY266" fmla="*/ 734703 h 6858000"/>
              <a:gd name="connsiteX267" fmla="*/ 11826824 w 12192000"/>
              <a:gd name="connsiteY267" fmla="*/ 735360 h 6858000"/>
              <a:gd name="connsiteX268" fmla="*/ 11822299 w 12192000"/>
              <a:gd name="connsiteY268" fmla="*/ 737148 h 6858000"/>
              <a:gd name="connsiteX269" fmla="*/ 11818357 w 12192000"/>
              <a:gd name="connsiteY269" fmla="*/ 739849 h 6858000"/>
              <a:gd name="connsiteX270" fmla="*/ 11814816 w 12192000"/>
              <a:gd name="connsiteY270" fmla="*/ 743317 h 6858000"/>
              <a:gd name="connsiteX271" fmla="*/ 11813794 w 12192000"/>
              <a:gd name="connsiteY271" fmla="*/ 738535 h 6858000"/>
              <a:gd name="connsiteX272" fmla="*/ 11809853 w 12192000"/>
              <a:gd name="connsiteY272" fmla="*/ 735725 h 6858000"/>
              <a:gd name="connsiteX273" fmla="*/ 11800363 w 12192000"/>
              <a:gd name="connsiteY273" fmla="*/ 735725 h 6858000"/>
              <a:gd name="connsiteX274" fmla="*/ 11800363 w 12192000"/>
              <a:gd name="connsiteY274" fmla="*/ 800072 h 6858000"/>
              <a:gd name="connsiteX275" fmla="*/ 11800363 w 12192000"/>
              <a:gd name="connsiteY275" fmla="*/ 800181 h 6858000"/>
              <a:gd name="connsiteX276" fmla="*/ 11815911 w 12192000"/>
              <a:gd name="connsiteY276" fmla="*/ 800181 h 6858000"/>
              <a:gd name="connsiteX277" fmla="*/ 11815911 w 12192000"/>
              <a:gd name="connsiteY277" fmla="*/ 753062 h 6858000"/>
              <a:gd name="connsiteX278" fmla="*/ 11821350 w 12192000"/>
              <a:gd name="connsiteY278" fmla="*/ 748499 h 6858000"/>
              <a:gd name="connsiteX279" fmla="*/ 11827664 w 12192000"/>
              <a:gd name="connsiteY279" fmla="*/ 746821 h 6858000"/>
              <a:gd name="connsiteX280" fmla="*/ 11835292 w 12192000"/>
              <a:gd name="connsiteY280" fmla="*/ 749777 h 6858000"/>
              <a:gd name="connsiteX281" fmla="*/ 11837884 w 12192000"/>
              <a:gd name="connsiteY281" fmla="*/ 759194 h 6858000"/>
              <a:gd name="connsiteX282" fmla="*/ 11837884 w 12192000"/>
              <a:gd name="connsiteY282" fmla="*/ 800145 h 6858000"/>
              <a:gd name="connsiteX283" fmla="*/ 11853432 w 12192000"/>
              <a:gd name="connsiteY283" fmla="*/ 800145 h 6858000"/>
              <a:gd name="connsiteX284" fmla="*/ 11853432 w 12192000"/>
              <a:gd name="connsiteY284" fmla="*/ 759194 h 6858000"/>
              <a:gd name="connsiteX285" fmla="*/ 11854308 w 12192000"/>
              <a:gd name="connsiteY285" fmla="*/ 753865 h 6858000"/>
              <a:gd name="connsiteX286" fmla="*/ 11856717 w 12192000"/>
              <a:gd name="connsiteY286" fmla="*/ 749996 h 6858000"/>
              <a:gd name="connsiteX287" fmla="*/ 11860294 w 12192000"/>
              <a:gd name="connsiteY287" fmla="*/ 747660 h 6858000"/>
              <a:gd name="connsiteX288" fmla="*/ 11864710 w 12192000"/>
              <a:gd name="connsiteY288" fmla="*/ 746857 h 6858000"/>
              <a:gd name="connsiteX289" fmla="*/ 11872630 w 12192000"/>
              <a:gd name="connsiteY289" fmla="*/ 749959 h 6858000"/>
              <a:gd name="connsiteX290" fmla="*/ 11875331 w 12192000"/>
              <a:gd name="connsiteY290" fmla="*/ 759194 h 6858000"/>
              <a:gd name="connsiteX291" fmla="*/ 11875331 w 12192000"/>
              <a:gd name="connsiteY291" fmla="*/ 800145 h 6858000"/>
              <a:gd name="connsiteX292" fmla="*/ 11890806 w 12192000"/>
              <a:gd name="connsiteY292" fmla="*/ 800145 h 6858000"/>
              <a:gd name="connsiteX293" fmla="*/ 11890806 w 12192000"/>
              <a:gd name="connsiteY293" fmla="*/ 759194 h 6858000"/>
              <a:gd name="connsiteX294" fmla="*/ 11889346 w 12192000"/>
              <a:gd name="connsiteY294" fmla="*/ 748828 h 6858000"/>
              <a:gd name="connsiteX295" fmla="*/ 11885040 w 12192000"/>
              <a:gd name="connsiteY295" fmla="*/ 741163 h 6858000"/>
              <a:gd name="connsiteX296" fmla="*/ 11878068 w 12192000"/>
              <a:gd name="connsiteY296" fmla="*/ 736382 h 6858000"/>
              <a:gd name="connsiteX297" fmla="*/ 11868579 w 12192000"/>
              <a:gd name="connsiteY297" fmla="*/ 734740 h 6858000"/>
              <a:gd name="connsiteX298" fmla="*/ 11862447 w 12192000"/>
              <a:gd name="connsiteY298" fmla="*/ 735433 h 6858000"/>
              <a:gd name="connsiteX299" fmla="*/ 11856717 w 12192000"/>
              <a:gd name="connsiteY299" fmla="*/ 737550 h 6858000"/>
              <a:gd name="connsiteX300" fmla="*/ 11851753 w 12192000"/>
              <a:gd name="connsiteY300" fmla="*/ 741273 h 6858000"/>
              <a:gd name="connsiteX301" fmla="*/ 11847994 w 12192000"/>
              <a:gd name="connsiteY301" fmla="*/ 746748 h 6858000"/>
              <a:gd name="connsiteX302" fmla="*/ 11842117 w 12192000"/>
              <a:gd name="connsiteY302" fmla="*/ 737988 h 6858000"/>
              <a:gd name="connsiteX303" fmla="*/ 11832117 w 12192000"/>
              <a:gd name="connsiteY303" fmla="*/ 734703 h 6858000"/>
              <a:gd name="connsiteX304" fmla="*/ 11727038 w 12192000"/>
              <a:gd name="connsiteY304" fmla="*/ 734703 h 6858000"/>
              <a:gd name="connsiteX305" fmla="*/ 11721745 w 12192000"/>
              <a:gd name="connsiteY305" fmla="*/ 735360 h 6858000"/>
              <a:gd name="connsiteX306" fmla="*/ 11717220 w 12192000"/>
              <a:gd name="connsiteY306" fmla="*/ 737148 h 6858000"/>
              <a:gd name="connsiteX307" fmla="*/ 11713278 w 12192000"/>
              <a:gd name="connsiteY307" fmla="*/ 739849 h 6858000"/>
              <a:gd name="connsiteX308" fmla="*/ 11709737 w 12192000"/>
              <a:gd name="connsiteY308" fmla="*/ 743317 h 6858000"/>
              <a:gd name="connsiteX309" fmla="*/ 11708715 w 12192000"/>
              <a:gd name="connsiteY309" fmla="*/ 738535 h 6858000"/>
              <a:gd name="connsiteX310" fmla="*/ 11704774 w 12192000"/>
              <a:gd name="connsiteY310" fmla="*/ 735725 h 6858000"/>
              <a:gd name="connsiteX311" fmla="*/ 11695284 w 12192000"/>
              <a:gd name="connsiteY311" fmla="*/ 735725 h 6858000"/>
              <a:gd name="connsiteX312" fmla="*/ 11695284 w 12192000"/>
              <a:gd name="connsiteY312" fmla="*/ 800072 h 6858000"/>
              <a:gd name="connsiteX313" fmla="*/ 11695284 w 12192000"/>
              <a:gd name="connsiteY313" fmla="*/ 800181 h 6858000"/>
              <a:gd name="connsiteX314" fmla="*/ 11710832 w 12192000"/>
              <a:gd name="connsiteY314" fmla="*/ 800181 h 6858000"/>
              <a:gd name="connsiteX315" fmla="*/ 11710832 w 12192000"/>
              <a:gd name="connsiteY315" fmla="*/ 753062 h 6858000"/>
              <a:gd name="connsiteX316" fmla="*/ 11716271 w 12192000"/>
              <a:gd name="connsiteY316" fmla="*/ 748499 h 6858000"/>
              <a:gd name="connsiteX317" fmla="*/ 11722585 w 12192000"/>
              <a:gd name="connsiteY317" fmla="*/ 746821 h 6858000"/>
              <a:gd name="connsiteX318" fmla="*/ 11730213 w 12192000"/>
              <a:gd name="connsiteY318" fmla="*/ 749777 h 6858000"/>
              <a:gd name="connsiteX319" fmla="*/ 11732805 w 12192000"/>
              <a:gd name="connsiteY319" fmla="*/ 759194 h 6858000"/>
              <a:gd name="connsiteX320" fmla="*/ 11732805 w 12192000"/>
              <a:gd name="connsiteY320" fmla="*/ 800145 h 6858000"/>
              <a:gd name="connsiteX321" fmla="*/ 11748353 w 12192000"/>
              <a:gd name="connsiteY321" fmla="*/ 800145 h 6858000"/>
              <a:gd name="connsiteX322" fmla="*/ 11748353 w 12192000"/>
              <a:gd name="connsiteY322" fmla="*/ 759194 h 6858000"/>
              <a:gd name="connsiteX323" fmla="*/ 11749229 w 12192000"/>
              <a:gd name="connsiteY323" fmla="*/ 753865 h 6858000"/>
              <a:gd name="connsiteX324" fmla="*/ 11751638 w 12192000"/>
              <a:gd name="connsiteY324" fmla="*/ 749996 h 6858000"/>
              <a:gd name="connsiteX325" fmla="*/ 11755215 w 12192000"/>
              <a:gd name="connsiteY325" fmla="*/ 747660 h 6858000"/>
              <a:gd name="connsiteX326" fmla="*/ 11759631 w 12192000"/>
              <a:gd name="connsiteY326" fmla="*/ 746857 h 6858000"/>
              <a:gd name="connsiteX327" fmla="*/ 11767551 w 12192000"/>
              <a:gd name="connsiteY327" fmla="*/ 749959 h 6858000"/>
              <a:gd name="connsiteX328" fmla="*/ 11770252 w 12192000"/>
              <a:gd name="connsiteY328" fmla="*/ 759194 h 6858000"/>
              <a:gd name="connsiteX329" fmla="*/ 11770252 w 12192000"/>
              <a:gd name="connsiteY329" fmla="*/ 800145 h 6858000"/>
              <a:gd name="connsiteX330" fmla="*/ 11785727 w 12192000"/>
              <a:gd name="connsiteY330" fmla="*/ 800145 h 6858000"/>
              <a:gd name="connsiteX331" fmla="*/ 11785727 w 12192000"/>
              <a:gd name="connsiteY331" fmla="*/ 759194 h 6858000"/>
              <a:gd name="connsiteX332" fmla="*/ 11784267 w 12192000"/>
              <a:gd name="connsiteY332" fmla="*/ 748828 h 6858000"/>
              <a:gd name="connsiteX333" fmla="*/ 11779961 w 12192000"/>
              <a:gd name="connsiteY333" fmla="*/ 741163 h 6858000"/>
              <a:gd name="connsiteX334" fmla="*/ 11772989 w 12192000"/>
              <a:gd name="connsiteY334" fmla="*/ 736382 h 6858000"/>
              <a:gd name="connsiteX335" fmla="*/ 11763500 w 12192000"/>
              <a:gd name="connsiteY335" fmla="*/ 734740 h 6858000"/>
              <a:gd name="connsiteX336" fmla="*/ 11757368 w 12192000"/>
              <a:gd name="connsiteY336" fmla="*/ 735433 h 6858000"/>
              <a:gd name="connsiteX337" fmla="*/ 11751638 w 12192000"/>
              <a:gd name="connsiteY337" fmla="*/ 737550 h 6858000"/>
              <a:gd name="connsiteX338" fmla="*/ 11746674 w 12192000"/>
              <a:gd name="connsiteY338" fmla="*/ 741273 h 6858000"/>
              <a:gd name="connsiteX339" fmla="*/ 11742915 w 12192000"/>
              <a:gd name="connsiteY339" fmla="*/ 746748 h 6858000"/>
              <a:gd name="connsiteX340" fmla="*/ 11737038 w 12192000"/>
              <a:gd name="connsiteY340" fmla="*/ 737988 h 6858000"/>
              <a:gd name="connsiteX341" fmla="*/ 11727038 w 12192000"/>
              <a:gd name="connsiteY341" fmla="*/ 734703 h 6858000"/>
              <a:gd name="connsiteX342" fmla="*/ 11656814 w 12192000"/>
              <a:gd name="connsiteY342" fmla="*/ 734557 h 6858000"/>
              <a:gd name="connsiteX343" fmla="*/ 11630097 w 12192000"/>
              <a:gd name="connsiteY343" fmla="*/ 744704 h 6858000"/>
              <a:gd name="connsiteX344" fmla="*/ 11632725 w 12192000"/>
              <a:gd name="connsiteY344" fmla="*/ 749740 h 6858000"/>
              <a:gd name="connsiteX345" fmla="*/ 11634550 w 12192000"/>
              <a:gd name="connsiteY345" fmla="*/ 751711 h 6858000"/>
              <a:gd name="connsiteX346" fmla="*/ 11637324 w 12192000"/>
              <a:gd name="connsiteY346" fmla="*/ 752551 h 6858000"/>
              <a:gd name="connsiteX347" fmla="*/ 11640755 w 12192000"/>
              <a:gd name="connsiteY347" fmla="*/ 751675 h 6858000"/>
              <a:gd name="connsiteX348" fmla="*/ 11644186 w 12192000"/>
              <a:gd name="connsiteY348" fmla="*/ 749704 h 6858000"/>
              <a:gd name="connsiteX349" fmla="*/ 11648529 w 12192000"/>
              <a:gd name="connsiteY349" fmla="*/ 747733 h 6858000"/>
              <a:gd name="connsiteX350" fmla="*/ 11654770 w 12192000"/>
              <a:gd name="connsiteY350" fmla="*/ 746857 h 6858000"/>
              <a:gd name="connsiteX351" fmla="*/ 11662727 w 12192000"/>
              <a:gd name="connsiteY351" fmla="*/ 749959 h 6858000"/>
              <a:gd name="connsiteX352" fmla="*/ 11665501 w 12192000"/>
              <a:gd name="connsiteY352" fmla="*/ 759522 h 6858000"/>
              <a:gd name="connsiteX353" fmla="*/ 11665501 w 12192000"/>
              <a:gd name="connsiteY353" fmla="*/ 763281 h 6858000"/>
              <a:gd name="connsiteX354" fmla="*/ 11652471 w 12192000"/>
              <a:gd name="connsiteY354" fmla="*/ 764376 h 6858000"/>
              <a:gd name="connsiteX355" fmla="*/ 11642470 w 12192000"/>
              <a:gd name="connsiteY355" fmla="*/ 766712 h 6858000"/>
              <a:gd name="connsiteX356" fmla="*/ 11635244 w 12192000"/>
              <a:gd name="connsiteY356" fmla="*/ 770107 h 6858000"/>
              <a:gd name="connsiteX357" fmla="*/ 11630462 w 12192000"/>
              <a:gd name="connsiteY357" fmla="*/ 774231 h 6858000"/>
              <a:gd name="connsiteX358" fmla="*/ 11627798 w 12192000"/>
              <a:gd name="connsiteY358" fmla="*/ 778830 h 6858000"/>
              <a:gd name="connsiteX359" fmla="*/ 11626995 w 12192000"/>
              <a:gd name="connsiteY359" fmla="*/ 783684 h 6858000"/>
              <a:gd name="connsiteX360" fmla="*/ 11628382 w 12192000"/>
              <a:gd name="connsiteY360" fmla="*/ 791276 h 6858000"/>
              <a:gd name="connsiteX361" fmla="*/ 11632287 w 12192000"/>
              <a:gd name="connsiteY361" fmla="*/ 796751 h 6858000"/>
              <a:gd name="connsiteX362" fmla="*/ 11638237 w 12192000"/>
              <a:gd name="connsiteY362" fmla="*/ 800035 h 6858000"/>
              <a:gd name="connsiteX363" fmla="*/ 11645755 w 12192000"/>
              <a:gd name="connsiteY363" fmla="*/ 801130 h 6858000"/>
              <a:gd name="connsiteX364" fmla="*/ 11652070 w 12192000"/>
              <a:gd name="connsiteY364" fmla="*/ 800546 h 6858000"/>
              <a:gd name="connsiteX365" fmla="*/ 11657435 w 12192000"/>
              <a:gd name="connsiteY365" fmla="*/ 798831 h 6858000"/>
              <a:gd name="connsiteX366" fmla="*/ 11662253 w 12192000"/>
              <a:gd name="connsiteY366" fmla="*/ 796057 h 6858000"/>
              <a:gd name="connsiteX367" fmla="*/ 11667034 w 12192000"/>
              <a:gd name="connsiteY367" fmla="*/ 792188 h 6858000"/>
              <a:gd name="connsiteX368" fmla="*/ 11668421 w 12192000"/>
              <a:gd name="connsiteY368" fmla="*/ 796824 h 6858000"/>
              <a:gd name="connsiteX369" fmla="*/ 11670319 w 12192000"/>
              <a:gd name="connsiteY369" fmla="*/ 799488 h 6858000"/>
              <a:gd name="connsiteX370" fmla="*/ 11673713 w 12192000"/>
              <a:gd name="connsiteY370" fmla="*/ 800145 h 6858000"/>
              <a:gd name="connsiteX371" fmla="*/ 11680721 w 12192000"/>
              <a:gd name="connsiteY371" fmla="*/ 800145 h 6858000"/>
              <a:gd name="connsiteX372" fmla="*/ 11680721 w 12192000"/>
              <a:gd name="connsiteY372" fmla="*/ 759485 h 6858000"/>
              <a:gd name="connsiteX373" fmla="*/ 11679115 w 12192000"/>
              <a:gd name="connsiteY373" fmla="*/ 749448 h 6858000"/>
              <a:gd name="connsiteX374" fmla="*/ 11674443 w 12192000"/>
              <a:gd name="connsiteY374" fmla="*/ 741565 h 6858000"/>
              <a:gd name="connsiteX375" fmla="*/ 11666924 w 12192000"/>
              <a:gd name="connsiteY375" fmla="*/ 736418 h 6858000"/>
              <a:gd name="connsiteX376" fmla="*/ 11656814 w 12192000"/>
              <a:gd name="connsiteY376" fmla="*/ 734557 h 6858000"/>
              <a:gd name="connsiteX377" fmla="*/ 11525784 w 12192000"/>
              <a:gd name="connsiteY377" fmla="*/ 716089 h 6858000"/>
              <a:gd name="connsiteX378" fmla="*/ 11523521 w 12192000"/>
              <a:gd name="connsiteY378" fmla="*/ 716782 h 6858000"/>
              <a:gd name="connsiteX379" fmla="*/ 11522317 w 12192000"/>
              <a:gd name="connsiteY379" fmla="*/ 718717 h 6858000"/>
              <a:gd name="connsiteX380" fmla="*/ 11519069 w 12192000"/>
              <a:gd name="connsiteY380" fmla="*/ 736273 h 6858000"/>
              <a:gd name="connsiteX381" fmla="*/ 11508703 w 12192000"/>
              <a:gd name="connsiteY381" fmla="*/ 737952 h 6858000"/>
              <a:gd name="connsiteX382" fmla="*/ 11508703 w 12192000"/>
              <a:gd name="connsiteY382" fmla="*/ 744083 h 6858000"/>
              <a:gd name="connsiteX383" fmla="*/ 11509579 w 12192000"/>
              <a:gd name="connsiteY383" fmla="*/ 746529 h 6858000"/>
              <a:gd name="connsiteX384" fmla="*/ 11511696 w 12192000"/>
              <a:gd name="connsiteY384" fmla="*/ 747332 h 6858000"/>
              <a:gd name="connsiteX385" fmla="*/ 11518266 w 12192000"/>
              <a:gd name="connsiteY385" fmla="*/ 747332 h 6858000"/>
              <a:gd name="connsiteX386" fmla="*/ 11518266 w 12192000"/>
              <a:gd name="connsiteY386" fmla="*/ 783283 h 6858000"/>
              <a:gd name="connsiteX387" fmla="*/ 11522755 w 12192000"/>
              <a:gd name="connsiteY387" fmla="*/ 796349 h 6858000"/>
              <a:gd name="connsiteX388" fmla="*/ 11535639 w 12192000"/>
              <a:gd name="connsiteY388" fmla="*/ 801094 h 6858000"/>
              <a:gd name="connsiteX389" fmla="*/ 11544764 w 12192000"/>
              <a:gd name="connsiteY389" fmla="*/ 799671 h 6858000"/>
              <a:gd name="connsiteX390" fmla="*/ 11552538 w 12192000"/>
              <a:gd name="connsiteY390" fmla="*/ 795400 h 6858000"/>
              <a:gd name="connsiteX391" fmla="*/ 11547902 w 12192000"/>
              <a:gd name="connsiteY391" fmla="*/ 787882 h 6858000"/>
              <a:gd name="connsiteX392" fmla="*/ 11546953 w 12192000"/>
              <a:gd name="connsiteY392" fmla="*/ 786860 h 6858000"/>
              <a:gd name="connsiteX393" fmla="*/ 11545822 w 12192000"/>
              <a:gd name="connsiteY393" fmla="*/ 786531 h 6858000"/>
              <a:gd name="connsiteX394" fmla="*/ 11544691 w 12192000"/>
              <a:gd name="connsiteY394" fmla="*/ 786860 h 6858000"/>
              <a:gd name="connsiteX395" fmla="*/ 11543413 w 12192000"/>
              <a:gd name="connsiteY395" fmla="*/ 787590 h 6858000"/>
              <a:gd name="connsiteX396" fmla="*/ 11541734 w 12192000"/>
              <a:gd name="connsiteY396" fmla="*/ 788320 h 6858000"/>
              <a:gd name="connsiteX397" fmla="*/ 11539325 w 12192000"/>
              <a:gd name="connsiteY397" fmla="*/ 788648 h 6858000"/>
              <a:gd name="connsiteX398" fmla="*/ 11535274 w 12192000"/>
              <a:gd name="connsiteY398" fmla="*/ 786969 h 6858000"/>
              <a:gd name="connsiteX399" fmla="*/ 11533814 w 12192000"/>
              <a:gd name="connsiteY399" fmla="*/ 782261 h 6858000"/>
              <a:gd name="connsiteX400" fmla="*/ 11533814 w 12192000"/>
              <a:gd name="connsiteY400" fmla="*/ 747368 h 6858000"/>
              <a:gd name="connsiteX401" fmla="*/ 11551005 w 12192000"/>
              <a:gd name="connsiteY401" fmla="*/ 747368 h 6858000"/>
              <a:gd name="connsiteX402" fmla="*/ 11551005 w 12192000"/>
              <a:gd name="connsiteY402" fmla="*/ 736346 h 6858000"/>
              <a:gd name="connsiteX403" fmla="*/ 11533814 w 12192000"/>
              <a:gd name="connsiteY403" fmla="*/ 736346 h 6858000"/>
              <a:gd name="connsiteX404" fmla="*/ 11533814 w 12192000"/>
              <a:gd name="connsiteY404" fmla="*/ 716089 h 6858000"/>
              <a:gd name="connsiteX405" fmla="*/ 11381688 w 12192000"/>
              <a:gd name="connsiteY405" fmla="*/ 708826 h 6858000"/>
              <a:gd name="connsiteX406" fmla="*/ 11381688 w 12192000"/>
              <a:gd name="connsiteY406" fmla="*/ 745836 h 6858000"/>
              <a:gd name="connsiteX407" fmla="*/ 11373585 w 12192000"/>
              <a:gd name="connsiteY407" fmla="*/ 738937 h 6858000"/>
              <a:gd name="connsiteX408" fmla="*/ 11362599 w 12192000"/>
              <a:gd name="connsiteY408" fmla="*/ 736601 h 6858000"/>
              <a:gd name="connsiteX409" fmla="*/ 11350956 w 12192000"/>
              <a:gd name="connsiteY409" fmla="*/ 739120 h 6858000"/>
              <a:gd name="connsiteX410" fmla="*/ 11342452 w 12192000"/>
              <a:gd name="connsiteY410" fmla="*/ 745982 h 6858000"/>
              <a:gd name="connsiteX411" fmla="*/ 11337196 w 12192000"/>
              <a:gd name="connsiteY411" fmla="*/ 756274 h 6858000"/>
              <a:gd name="connsiteX412" fmla="*/ 11335408 w 12192000"/>
              <a:gd name="connsiteY412" fmla="*/ 769049 h 6858000"/>
              <a:gd name="connsiteX413" fmla="*/ 11341795 w 12192000"/>
              <a:gd name="connsiteY413" fmla="*/ 792955 h 6858000"/>
              <a:gd name="connsiteX414" fmla="*/ 11359753 w 12192000"/>
              <a:gd name="connsiteY414" fmla="*/ 800912 h 6858000"/>
              <a:gd name="connsiteX415" fmla="*/ 11372162 w 12192000"/>
              <a:gd name="connsiteY415" fmla="*/ 797591 h 6858000"/>
              <a:gd name="connsiteX416" fmla="*/ 11381834 w 12192000"/>
              <a:gd name="connsiteY416" fmla="*/ 788612 h 6858000"/>
              <a:gd name="connsiteX417" fmla="*/ 11382455 w 12192000"/>
              <a:gd name="connsiteY417" fmla="*/ 798466 h 6858000"/>
              <a:gd name="connsiteX418" fmla="*/ 11384353 w 12192000"/>
              <a:gd name="connsiteY418" fmla="*/ 800109 h 6858000"/>
              <a:gd name="connsiteX419" fmla="*/ 11387601 w 12192000"/>
              <a:gd name="connsiteY419" fmla="*/ 800109 h 6858000"/>
              <a:gd name="connsiteX420" fmla="*/ 11387601 w 12192000"/>
              <a:gd name="connsiteY420" fmla="*/ 708826 h 6858000"/>
              <a:gd name="connsiteX421" fmla="*/ 11058530 w 12192000"/>
              <a:gd name="connsiteY421" fmla="*/ 708826 h 6858000"/>
              <a:gd name="connsiteX422" fmla="*/ 11058530 w 12192000"/>
              <a:gd name="connsiteY422" fmla="*/ 800109 h 6858000"/>
              <a:gd name="connsiteX423" fmla="*/ 11064552 w 12192000"/>
              <a:gd name="connsiteY423" fmla="*/ 800109 h 6858000"/>
              <a:gd name="connsiteX424" fmla="*/ 11064552 w 12192000"/>
              <a:gd name="connsiteY424" fmla="*/ 708826 h 6858000"/>
              <a:gd name="connsiteX425" fmla="*/ 11560896 w 12192000"/>
              <a:gd name="connsiteY425" fmla="*/ 706855 h 6858000"/>
              <a:gd name="connsiteX426" fmla="*/ 11560896 w 12192000"/>
              <a:gd name="connsiteY426" fmla="*/ 800072 h 6858000"/>
              <a:gd name="connsiteX427" fmla="*/ 11576371 w 12192000"/>
              <a:gd name="connsiteY427" fmla="*/ 800072 h 6858000"/>
              <a:gd name="connsiteX428" fmla="*/ 11576371 w 12192000"/>
              <a:gd name="connsiteY428" fmla="*/ 753537 h 6858000"/>
              <a:gd name="connsiteX429" fmla="*/ 11583014 w 12192000"/>
              <a:gd name="connsiteY429" fmla="*/ 748573 h 6858000"/>
              <a:gd name="connsiteX430" fmla="*/ 11590533 w 12192000"/>
              <a:gd name="connsiteY430" fmla="*/ 746748 h 6858000"/>
              <a:gd name="connsiteX431" fmla="*/ 11598745 w 12192000"/>
              <a:gd name="connsiteY431" fmla="*/ 749996 h 6858000"/>
              <a:gd name="connsiteX432" fmla="*/ 11601446 w 12192000"/>
              <a:gd name="connsiteY432" fmla="*/ 759121 h 6858000"/>
              <a:gd name="connsiteX433" fmla="*/ 11601446 w 12192000"/>
              <a:gd name="connsiteY433" fmla="*/ 800072 h 6858000"/>
              <a:gd name="connsiteX434" fmla="*/ 11616921 w 12192000"/>
              <a:gd name="connsiteY434" fmla="*/ 800072 h 6858000"/>
              <a:gd name="connsiteX435" fmla="*/ 11616921 w 12192000"/>
              <a:gd name="connsiteY435" fmla="*/ 759121 h 6858000"/>
              <a:gd name="connsiteX436" fmla="*/ 11615498 w 12192000"/>
              <a:gd name="connsiteY436" fmla="*/ 749230 h 6858000"/>
              <a:gd name="connsiteX437" fmla="*/ 11611373 w 12192000"/>
              <a:gd name="connsiteY437" fmla="*/ 741529 h 6858000"/>
              <a:gd name="connsiteX438" fmla="*/ 11604585 w 12192000"/>
              <a:gd name="connsiteY438" fmla="*/ 736528 h 6858000"/>
              <a:gd name="connsiteX439" fmla="*/ 11595241 w 12192000"/>
              <a:gd name="connsiteY439" fmla="*/ 734740 h 6858000"/>
              <a:gd name="connsiteX440" fmla="*/ 11584657 w 12192000"/>
              <a:gd name="connsiteY440" fmla="*/ 736930 h 6858000"/>
              <a:gd name="connsiteX441" fmla="*/ 11576371 w 12192000"/>
              <a:gd name="connsiteY441" fmla="*/ 742624 h 6858000"/>
              <a:gd name="connsiteX442" fmla="*/ 11576371 w 12192000"/>
              <a:gd name="connsiteY442" fmla="*/ 706855 h 6858000"/>
              <a:gd name="connsiteX443" fmla="*/ 11321539 w 12192000"/>
              <a:gd name="connsiteY443" fmla="*/ 434247 h 6858000"/>
              <a:gd name="connsiteX444" fmla="*/ 11348438 w 12192000"/>
              <a:gd name="connsiteY444" fmla="*/ 434247 h 6858000"/>
              <a:gd name="connsiteX445" fmla="*/ 11348438 w 12192000"/>
              <a:gd name="connsiteY445" fmla="*/ 438846 h 6858000"/>
              <a:gd name="connsiteX446" fmla="*/ 11333730 w 12192000"/>
              <a:gd name="connsiteY446" fmla="*/ 494871 h 6858000"/>
              <a:gd name="connsiteX447" fmla="*/ 11292340 w 12192000"/>
              <a:gd name="connsiteY447" fmla="*/ 514909 h 6858000"/>
              <a:gd name="connsiteX448" fmla="*/ 11264273 w 12192000"/>
              <a:gd name="connsiteY448" fmla="*/ 504616 h 6858000"/>
              <a:gd name="connsiteX449" fmla="*/ 11253907 w 12192000"/>
              <a:gd name="connsiteY449" fmla="*/ 476877 h 6858000"/>
              <a:gd name="connsiteX450" fmla="*/ 11268872 w 12192000"/>
              <a:gd name="connsiteY450" fmla="*/ 443883 h 6858000"/>
              <a:gd name="connsiteX451" fmla="*/ 11321539 w 12192000"/>
              <a:gd name="connsiteY451" fmla="*/ 434247 h 6858000"/>
              <a:gd name="connsiteX452" fmla="*/ 11301684 w 12192000"/>
              <a:gd name="connsiteY452" fmla="*/ 291866 h 6858000"/>
              <a:gd name="connsiteX453" fmla="*/ 11253068 w 12192000"/>
              <a:gd name="connsiteY453" fmla="*/ 296209 h 6858000"/>
              <a:gd name="connsiteX454" fmla="*/ 11207882 w 12192000"/>
              <a:gd name="connsiteY454" fmla="*/ 309750 h 6858000"/>
              <a:gd name="connsiteX455" fmla="*/ 11207882 w 12192000"/>
              <a:gd name="connsiteY455" fmla="*/ 367053 h 6858000"/>
              <a:gd name="connsiteX456" fmla="*/ 11255039 w 12192000"/>
              <a:gd name="connsiteY456" fmla="*/ 347599 h 6858000"/>
              <a:gd name="connsiteX457" fmla="*/ 11301720 w 12192000"/>
              <a:gd name="connsiteY457" fmla="*/ 341504 h 6858000"/>
              <a:gd name="connsiteX458" fmla="*/ 11336576 w 12192000"/>
              <a:gd name="connsiteY458" fmla="*/ 349899 h 6858000"/>
              <a:gd name="connsiteX459" fmla="*/ 11348438 w 12192000"/>
              <a:gd name="connsiteY459" fmla="*/ 374572 h 6858000"/>
              <a:gd name="connsiteX460" fmla="*/ 11348438 w 12192000"/>
              <a:gd name="connsiteY460" fmla="*/ 385667 h 6858000"/>
              <a:gd name="connsiteX461" fmla="*/ 11301757 w 12192000"/>
              <a:gd name="connsiteY461" fmla="*/ 385667 h 6858000"/>
              <a:gd name="connsiteX462" fmla="*/ 11211532 w 12192000"/>
              <a:gd name="connsiteY462" fmla="*/ 407128 h 6858000"/>
              <a:gd name="connsiteX463" fmla="*/ 11182370 w 12192000"/>
              <a:gd name="connsiteY463" fmla="*/ 473629 h 6858000"/>
              <a:gd name="connsiteX464" fmla="*/ 11206824 w 12192000"/>
              <a:gd name="connsiteY464" fmla="*/ 538414 h 6858000"/>
              <a:gd name="connsiteX465" fmla="*/ 11275149 w 12192000"/>
              <a:gd name="connsiteY465" fmla="*/ 561590 h 6858000"/>
              <a:gd name="connsiteX466" fmla="*/ 11317196 w 12192000"/>
              <a:gd name="connsiteY466" fmla="*/ 552393 h 6858000"/>
              <a:gd name="connsiteX467" fmla="*/ 11348438 w 12192000"/>
              <a:gd name="connsiteY467" fmla="*/ 526187 h 6858000"/>
              <a:gd name="connsiteX468" fmla="*/ 11348438 w 12192000"/>
              <a:gd name="connsiteY468" fmla="*/ 555021 h 6858000"/>
              <a:gd name="connsiteX469" fmla="*/ 11415231 w 12192000"/>
              <a:gd name="connsiteY469" fmla="*/ 555021 h 6858000"/>
              <a:gd name="connsiteX470" fmla="*/ 11415231 w 12192000"/>
              <a:gd name="connsiteY470" fmla="*/ 408223 h 6858000"/>
              <a:gd name="connsiteX471" fmla="*/ 11389791 w 12192000"/>
              <a:gd name="connsiteY471" fmla="*/ 317306 h 6858000"/>
              <a:gd name="connsiteX472" fmla="*/ 11301684 w 12192000"/>
              <a:gd name="connsiteY472" fmla="*/ 291866 h 6858000"/>
              <a:gd name="connsiteX473" fmla="*/ 11492899 w 12192000"/>
              <a:gd name="connsiteY473" fmla="*/ 225110 h 6858000"/>
              <a:gd name="connsiteX474" fmla="*/ 11492899 w 12192000"/>
              <a:gd name="connsiteY474" fmla="*/ 298107 h 6858000"/>
              <a:gd name="connsiteX475" fmla="*/ 11427202 w 12192000"/>
              <a:gd name="connsiteY475" fmla="*/ 298107 h 6858000"/>
              <a:gd name="connsiteX476" fmla="*/ 11427202 w 12192000"/>
              <a:gd name="connsiteY476" fmla="*/ 349935 h 6858000"/>
              <a:gd name="connsiteX477" fmla="*/ 11492899 w 12192000"/>
              <a:gd name="connsiteY477" fmla="*/ 349935 h 6858000"/>
              <a:gd name="connsiteX478" fmla="*/ 11492899 w 12192000"/>
              <a:gd name="connsiteY478" fmla="*/ 467971 h 6858000"/>
              <a:gd name="connsiteX479" fmla="*/ 11513302 w 12192000"/>
              <a:gd name="connsiteY479" fmla="*/ 536552 h 6858000"/>
              <a:gd name="connsiteX480" fmla="*/ 11591518 w 12192000"/>
              <a:gd name="connsiteY480" fmla="*/ 555057 h 6858000"/>
              <a:gd name="connsiteX481" fmla="*/ 11648018 w 12192000"/>
              <a:gd name="connsiteY481" fmla="*/ 555057 h 6858000"/>
              <a:gd name="connsiteX482" fmla="*/ 11648018 w 12192000"/>
              <a:gd name="connsiteY482" fmla="*/ 503229 h 6858000"/>
              <a:gd name="connsiteX483" fmla="*/ 11596336 w 12192000"/>
              <a:gd name="connsiteY483" fmla="*/ 503229 h 6858000"/>
              <a:gd name="connsiteX484" fmla="*/ 11568415 w 12192000"/>
              <a:gd name="connsiteY484" fmla="*/ 495783 h 6858000"/>
              <a:gd name="connsiteX485" fmla="*/ 11560020 w 12192000"/>
              <a:gd name="connsiteY485" fmla="*/ 471183 h 6858000"/>
              <a:gd name="connsiteX486" fmla="*/ 11560020 w 12192000"/>
              <a:gd name="connsiteY486" fmla="*/ 349935 h 6858000"/>
              <a:gd name="connsiteX487" fmla="*/ 11647982 w 12192000"/>
              <a:gd name="connsiteY487" fmla="*/ 349935 h 6858000"/>
              <a:gd name="connsiteX488" fmla="*/ 11647982 w 12192000"/>
              <a:gd name="connsiteY488" fmla="*/ 298107 h 6858000"/>
              <a:gd name="connsiteX489" fmla="*/ 11560020 w 12192000"/>
              <a:gd name="connsiteY489" fmla="*/ 298107 h 6858000"/>
              <a:gd name="connsiteX490" fmla="*/ 11560020 w 12192000"/>
              <a:gd name="connsiteY490" fmla="*/ 225110 h 6858000"/>
              <a:gd name="connsiteX491" fmla="*/ 11773427 w 12192000"/>
              <a:gd name="connsiteY491" fmla="*/ 198101 h 6858000"/>
              <a:gd name="connsiteX492" fmla="*/ 11773427 w 12192000"/>
              <a:gd name="connsiteY492" fmla="*/ 241534 h 6858000"/>
              <a:gd name="connsiteX493" fmla="*/ 11828905 w 12192000"/>
              <a:gd name="connsiteY493" fmla="*/ 241534 h 6858000"/>
              <a:gd name="connsiteX494" fmla="*/ 11828905 w 12192000"/>
              <a:gd name="connsiteY494" fmla="*/ 573671 h 6858000"/>
              <a:gd name="connsiteX495" fmla="*/ 11773427 w 12192000"/>
              <a:gd name="connsiteY495" fmla="*/ 573671 h 6858000"/>
              <a:gd name="connsiteX496" fmla="*/ 11773427 w 12192000"/>
              <a:gd name="connsiteY496" fmla="*/ 617105 h 6858000"/>
              <a:gd name="connsiteX497" fmla="*/ 11889857 w 12192000"/>
              <a:gd name="connsiteY497" fmla="*/ 617105 h 6858000"/>
              <a:gd name="connsiteX498" fmla="*/ 11889857 w 12192000"/>
              <a:gd name="connsiteY498" fmla="*/ 198101 h 6858000"/>
              <a:gd name="connsiteX499" fmla="*/ 10990132 w 12192000"/>
              <a:gd name="connsiteY499" fmla="*/ 197736 h 6858000"/>
              <a:gd name="connsiteX500" fmla="*/ 10990132 w 12192000"/>
              <a:gd name="connsiteY500" fmla="*/ 617105 h 6858000"/>
              <a:gd name="connsiteX501" fmla="*/ 11106635 w 12192000"/>
              <a:gd name="connsiteY501" fmla="*/ 617105 h 6858000"/>
              <a:gd name="connsiteX502" fmla="*/ 11106635 w 12192000"/>
              <a:gd name="connsiteY502" fmla="*/ 573671 h 6858000"/>
              <a:gd name="connsiteX503" fmla="*/ 11051085 w 12192000"/>
              <a:gd name="connsiteY503" fmla="*/ 573671 h 6858000"/>
              <a:gd name="connsiteX504" fmla="*/ 11051085 w 12192000"/>
              <a:gd name="connsiteY504" fmla="*/ 241169 h 6858000"/>
              <a:gd name="connsiteX505" fmla="*/ 11106635 w 12192000"/>
              <a:gd name="connsiteY505" fmla="*/ 241169 h 6858000"/>
              <a:gd name="connsiteX506" fmla="*/ 11106635 w 12192000"/>
              <a:gd name="connsiteY506" fmla="*/ 197736 h 6858000"/>
              <a:gd name="connsiteX507" fmla="*/ 0 w 12192000"/>
              <a:gd name="connsiteY507" fmla="*/ 0 h 6858000"/>
              <a:gd name="connsiteX508" fmla="*/ 12192000 w 12192000"/>
              <a:gd name="connsiteY508" fmla="*/ 0 h 6858000"/>
              <a:gd name="connsiteX509" fmla="*/ 12192000 w 12192000"/>
              <a:gd name="connsiteY509" fmla="*/ 6858000 h 6858000"/>
              <a:gd name="connsiteX510" fmla="*/ 0 w 12192000"/>
              <a:gd name="connsiteY5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</a:cxnLst>
            <a:rect l="l" t="t" r="r" b="b"/>
            <a:pathLst>
              <a:path w="12192000" h="6858000">
                <a:moveTo>
                  <a:pt x="11665610" y="772625"/>
                </a:moveTo>
                <a:lnTo>
                  <a:pt x="11665610" y="783465"/>
                </a:lnTo>
                <a:cubicBezTo>
                  <a:pt x="11663421" y="785837"/>
                  <a:pt x="11661158" y="787553"/>
                  <a:pt x="11658822" y="788721"/>
                </a:cubicBezTo>
                <a:cubicBezTo>
                  <a:pt x="11656486" y="789852"/>
                  <a:pt x="11653748" y="790436"/>
                  <a:pt x="11650573" y="790436"/>
                </a:cubicBezTo>
                <a:cubicBezTo>
                  <a:pt x="11647982" y="790436"/>
                  <a:pt x="11645865" y="789852"/>
                  <a:pt x="11644259" y="788684"/>
                </a:cubicBezTo>
                <a:cubicBezTo>
                  <a:pt x="11642653" y="787516"/>
                  <a:pt x="11641850" y="785545"/>
                  <a:pt x="11641850" y="782845"/>
                </a:cubicBezTo>
                <a:cubicBezTo>
                  <a:pt x="11641850" y="781458"/>
                  <a:pt x="11642251" y="780180"/>
                  <a:pt x="11643054" y="779012"/>
                </a:cubicBezTo>
                <a:cubicBezTo>
                  <a:pt x="11643821" y="777844"/>
                  <a:pt x="11645171" y="776822"/>
                  <a:pt x="11646996" y="775946"/>
                </a:cubicBezTo>
                <a:cubicBezTo>
                  <a:pt x="11648821" y="775070"/>
                  <a:pt x="11651266" y="774340"/>
                  <a:pt x="11654332" y="773793"/>
                </a:cubicBezTo>
                <a:cubicBezTo>
                  <a:pt x="11657362" y="773209"/>
                  <a:pt x="11661121" y="772844"/>
                  <a:pt x="11665610" y="772625"/>
                </a:cubicBezTo>
                <a:close/>
                <a:moveTo>
                  <a:pt x="11244271" y="769924"/>
                </a:moveTo>
                <a:lnTo>
                  <a:pt x="11244308" y="769924"/>
                </a:lnTo>
                <a:lnTo>
                  <a:pt x="11244308" y="786276"/>
                </a:lnTo>
                <a:cubicBezTo>
                  <a:pt x="11242848" y="787772"/>
                  <a:pt x="11241352" y="789195"/>
                  <a:pt x="11239855" y="790473"/>
                </a:cubicBezTo>
                <a:cubicBezTo>
                  <a:pt x="11238359" y="791787"/>
                  <a:pt x="11236753" y="792882"/>
                  <a:pt x="11235001" y="793831"/>
                </a:cubicBezTo>
                <a:cubicBezTo>
                  <a:pt x="11233249" y="794780"/>
                  <a:pt x="11231387" y="795510"/>
                  <a:pt x="11229344" y="796021"/>
                </a:cubicBezTo>
                <a:cubicBezTo>
                  <a:pt x="11227300" y="796532"/>
                  <a:pt x="11225073" y="796787"/>
                  <a:pt x="11222664" y="796787"/>
                </a:cubicBezTo>
                <a:cubicBezTo>
                  <a:pt x="11221022" y="796787"/>
                  <a:pt x="11219452" y="796568"/>
                  <a:pt x="11217956" y="796094"/>
                </a:cubicBezTo>
                <a:cubicBezTo>
                  <a:pt x="11216460" y="795656"/>
                  <a:pt x="11215109" y="794926"/>
                  <a:pt x="11213978" y="793940"/>
                </a:cubicBezTo>
                <a:cubicBezTo>
                  <a:pt x="11212810" y="792955"/>
                  <a:pt x="11211897" y="791714"/>
                  <a:pt x="11211204" y="790181"/>
                </a:cubicBezTo>
                <a:cubicBezTo>
                  <a:pt x="11210510" y="788648"/>
                  <a:pt x="11210182" y="786823"/>
                  <a:pt x="11210182" y="784743"/>
                </a:cubicBezTo>
                <a:cubicBezTo>
                  <a:pt x="11210182" y="782553"/>
                  <a:pt x="11210839" y="780582"/>
                  <a:pt x="11212189" y="778830"/>
                </a:cubicBezTo>
                <a:cubicBezTo>
                  <a:pt x="11213503" y="777078"/>
                  <a:pt x="11215584" y="775581"/>
                  <a:pt x="11218357" y="774341"/>
                </a:cubicBezTo>
                <a:cubicBezTo>
                  <a:pt x="11221131" y="773063"/>
                  <a:pt x="11224672" y="772078"/>
                  <a:pt x="11228942" y="771348"/>
                </a:cubicBezTo>
                <a:cubicBezTo>
                  <a:pt x="11233212" y="770618"/>
                  <a:pt x="11238322" y="770143"/>
                  <a:pt x="11244271" y="769924"/>
                </a:cubicBezTo>
                <a:close/>
                <a:moveTo>
                  <a:pt x="11032215" y="769924"/>
                </a:moveTo>
                <a:lnTo>
                  <a:pt x="11032251" y="769924"/>
                </a:lnTo>
                <a:lnTo>
                  <a:pt x="11032251" y="786276"/>
                </a:lnTo>
                <a:cubicBezTo>
                  <a:pt x="11030791" y="787772"/>
                  <a:pt x="11029295" y="789195"/>
                  <a:pt x="11027799" y="790473"/>
                </a:cubicBezTo>
                <a:cubicBezTo>
                  <a:pt x="11026302" y="791787"/>
                  <a:pt x="11024696" y="792882"/>
                  <a:pt x="11022944" y="793831"/>
                </a:cubicBezTo>
                <a:cubicBezTo>
                  <a:pt x="11021192" y="794780"/>
                  <a:pt x="11019331" y="795510"/>
                  <a:pt x="11017287" y="796021"/>
                </a:cubicBezTo>
                <a:cubicBezTo>
                  <a:pt x="11015243" y="796532"/>
                  <a:pt x="11013017" y="796787"/>
                  <a:pt x="11010608" y="796787"/>
                </a:cubicBezTo>
                <a:cubicBezTo>
                  <a:pt x="11008965" y="796787"/>
                  <a:pt x="11007396" y="796568"/>
                  <a:pt x="11005899" y="796094"/>
                </a:cubicBezTo>
                <a:cubicBezTo>
                  <a:pt x="11004403" y="795656"/>
                  <a:pt x="11003053" y="794926"/>
                  <a:pt x="11001921" y="793940"/>
                </a:cubicBezTo>
                <a:cubicBezTo>
                  <a:pt x="11000753" y="792955"/>
                  <a:pt x="10999841" y="791714"/>
                  <a:pt x="10999147" y="790181"/>
                </a:cubicBezTo>
                <a:cubicBezTo>
                  <a:pt x="10998454" y="788648"/>
                  <a:pt x="10998125" y="786823"/>
                  <a:pt x="10998125" y="784743"/>
                </a:cubicBezTo>
                <a:cubicBezTo>
                  <a:pt x="10998125" y="782553"/>
                  <a:pt x="10998782" y="780582"/>
                  <a:pt x="11000133" y="778830"/>
                </a:cubicBezTo>
                <a:cubicBezTo>
                  <a:pt x="11001447" y="777078"/>
                  <a:pt x="11003527" y="775581"/>
                  <a:pt x="11006301" y="774341"/>
                </a:cubicBezTo>
                <a:cubicBezTo>
                  <a:pt x="11009075" y="773063"/>
                  <a:pt x="11012615" y="772078"/>
                  <a:pt x="11016886" y="771348"/>
                </a:cubicBezTo>
                <a:cubicBezTo>
                  <a:pt x="11021156" y="770618"/>
                  <a:pt x="11026266" y="770143"/>
                  <a:pt x="11032215" y="769924"/>
                </a:cubicBezTo>
                <a:close/>
                <a:moveTo>
                  <a:pt x="11363804" y="741310"/>
                </a:moveTo>
                <a:cubicBezTo>
                  <a:pt x="11367527" y="741310"/>
                  <a:pt x="11370812" y="742040"/>
                  <a:pt x="11373731" y="743500"/>
                </a:cubicBezTo>
                <a:cubicBezTo>
                  <a:pt x="11376615" y="744960"/>
                  <a:pt x="11379279" y="747478"/>
                  <a:pt x="11381652" y="751091"/>
                </a:cubicBezTo>
                <a:lnTo>
                  <a:pt x="11381688" y="751091"/>
                </a:lnTo>
                <a:lnTo>
                  <a:pt x="11381688" y="783904"/>
                </a:lnTo>
                <a:cubicBezTo>
                  <a:pt x="11379097" y="787772"/>
                  <a:pt x="11376104" y="790765"/>
                  <a:pt x="11372710" y="792882"/>
                </a:cubicBezTo>
                <a:cubicBezTo>
                  <a:pt x="11369315" y="795036"/>
                  <a:pt x="11365556" y="796094"/>
                  <a:pt x="11361468" y="796094"/>
                </a:cubicBezTo>
                <a:cubicBezTo>
                  <a:pt x="11355008" y="796094"/>
                  <a:pt x="11350080" y="793904"/>
                  <a:pt x="11346686" y="789524"/>
                </a:cubicBezTo>
                <a:cubicBezTo>
                  <a:pt x="11343292" y="785144"/>
                  <a:pt x="11341576" y="778319"/>
                  <a:pt x="11341576" y="769049"/>
                </a:cubicBezTo>
                <a:cubicBezTo>
                  <a:pt x="11341576" y="764961"/>
                  <a:pt x="11342051" y="761201"/>
                  <a:pt x="11343000" y="757807"/>
                </a:cubicBezTo>
                <a:cubicBezTo>
                  <a:pt x="11343949" y="754376"/>
                  <a:pt x="11345336" y="751456"/>
                  <a:pt x="11347197" y="749011"/>
                </a:cubicBezTo>
                <a:cubicBezTo>
                  <a:pt x="11349058" y="746565"/>
                  <a:pt x="11351358" y="744668"/>
                  <a:pt x="11354132" y="743317"/>
                </a:cubicBezTo>
                <a:cubicBezTo>
                  <a:pt x="11356906" y="741967"/>
                  <a:pt x="11360118" y="741310"/>
                  <a:pt x="11363804" y="741310"/>
                </a:cubicBezTo>
                <a:close/>
                <a:moveTo>
                  <a:pt x="11432604" y="741126"/>
                </a:moveTo>
                <a:cubicBezTo>
                  <a:pt x="11435451" y="741126"/>
                  <a:pt x="11438042" y="741601"/>
                  <a:pt x="11440415" y="742586"/>
                </a:cubicBezTo>
                <a:cubicBezTo>
                  <a:pt x="11442787" y="743572"/>
                  <a:pt x="11444831" y="744995"/>
                  <a:pt x="11446546" y="746820"/>
                </a:cubicBezTo>
                <a:cubicBezTo>
                  <a:pt x="11448262" y="748682"/>
                  <a:pt x="11449576" y="750908"/>
                  <a:pt x="11450525" y="753572"/>
                </a:cubicBezTo>
                <a:cubicBezTo>
                  <a:pt x="11451474" y="756237"/>
                  <a:pt x="11451948" y="759230"/>
                  <a:pt x="11451948" y="762587"/>
                </a:cubicBezTo>
                <a:lnTo>
                  <a:pt x="11410595" y="762587"/>
                </a:lnTo>
                <a:cubicBezTo>
                  <a:pt x="11410960" y="759339"/>
                  <a:pt x="11411727" y="756383"/>
                  <a:pt x="11412858" y="753755"/>
                </a:cubicBezTo>
                <a:cubicBezTo>
                  <a:pt x="11413990" y="751090"/>
                  <a:pt x="11415486" y="748864"/>
                  <a:pt x="11417347" y="746966"/>
                </a:cubicBezTo>
                <a:cubicBezTo>
                  <a:pt x="11419209" y="745068"/>
                  <a:pt x="11421399" y="743645"/>
                  <a:pt x="11423954" y="742623"/>
                </a:cubicBezTo>
                <a:cubicBezTo>
                  <a:pt x="11426509" y="741637"/>
                  <a:pt x="11429392" y="741126"/>
                  <a:pt x="11432604" y="741126"/>
                </a:cubicBezTo>
                <a:close/>
                <a:moveTo>
                  <a:pt x="11110139" y="741126"/>
                </a:moveTo>
                <a:cubicBezTo>
                  <a:pt x="11112986" y="741126"/>
                  <a:pt x="11115577" y="741601"/>
                  <a:pt x="11117950" y="742586"/>
                </a:cubicBezTo>
                <a:cubicBezTo>
                  <a:pt x="11120322" y="743572"/>
                  <a:pt x="11122366" y="744995"/>
                  <a:pt x="11124081" y="746820"/>
                </a:cubicBezTo>
                <a:cubicBezTo>
                  <a:pt x="11125797" y="748682"/>
                  <a:pt x="11127111" y="750908"/>
                  <a:pt x="11128060" y="753572"/>
                </a:cubicBezTo>
                <a:cubicBezTo>
                  <a:pt x="11129009" y="756237"/>
                  <a:pt x="11129483" y="759230"/>
                  <a:pt x="11129483" y="762587"/>
                </a:cubicBezTo>
                <a:lnTo>
                  <a:pt x="11088130" y="762587"/>
                </a:lnTo>
                <a:cubicBezTo>
                  <a:pt x="11088495" y="759339"/>
                  <a:pt x="11089262" y="756383"/>
                  <a:pt x="11090393" y="753755"/>
                </a:cubicBezTo>
                <a:cubicBezTo>
                  <a:pt x="11091525" y="751090"/>
                  <a:pt x="11093021" y="748864"/>
                  <a:pt x="11094882" y="746966"/>
                </a:cubicBezTo>
                <a:cubicBezTo>
                  <a:pt x="11096744" y="745068"/>
                  <a:pt x="11098934" y="743645"/>
                  <a:pt x="11101489" y="742623"/>
                </a:cubicBezTo>
                <a:cubicBezTo>
                  <a:pt x="11104044" y="741637"/>
                  <a:pt x="11106927" y="741126"/>
                  <a:pt x="11110139" y="741126"/>
                </a:cubicBezTo>
                <a:close/>
                <a:moveTo>
                  <a:pt x="11143791" y="737659"/>
                </a:moveTo>
                <a:lnTo>
                  <a:pt x="11165617" y="768135"/>
                </a:lnTo>
                <a:lnTo>
                  <a:pt x="11142915" y="800072"/>
                </a:lnTo>
                <a:lnTo>
                  <a:pt x="11148317" y="800072"/>
                </a:lnTo>
                <a:cubicBezTo>
                  <a:pt x="11148828" y="800072"/>
                  <a:pt x="11149229" y="799889"/>
                  <a:pt x="11149558" y="799561"/>
                </a:cubicBezTo>
                <a:cubicBezTo>
                  <a:pt x="11149886" y="799232"/>
                  <a:pt x="11150178" y="798867"/>
                  <a:pt x="11150470" y="798502"/>
                </a:cubicBezTo>
                <a:lnTo>
                  <a:pt x="11168537" y="773026"/>
                </a:lnTo>
                <a:cubicBezTo>
                  <a:pt x="11169011" y="772333"/>
                  <a:pt x="11169303" y="771603"/>
                  <a:pt x="11169486" y="770836"/>
                </a:cubicBezTo>
                <a:lnTo>
                  <a:pt x="11188429" y="798502"/>
                </a:lnTo>
                <a:cubicBezTo>
                  <a:pt x="11188611" y="798831"/>
                  <a:pt x="11188903" y="799159"/>
                  <a:pt x="11189232" y="799524"/>
                </a:cubicBezTo>
                <a:cubicBezTo>
                  <a:pt x="11189560" y="799889"/>
                  <a:pt x="11190035" y="800072"/>
                  <a:pt x="11190619" y="800072"/>
                </a:cubicBezTo>
                <a:lnTo>
                  <a:pt x="11196312" y="800072"/>
                </a:lnTo>
                <a:lnTo>
                  <a:pt x="11173647" y="767770"/>
                </a:lnTo>
                <a:lnTo>
                  <a:pt x="11195400" y="737659"/>
                </a:lnTo>
                <a:lnTo>
                  <a:pt x="11189925" y="737659"/>
                </a:lnTo>
                <a:cubicBezTo>
                  <a:pt x="11189451" y="737659"/>
                  <a:pt x="11189086" y="737768"/>
                  <a:pt x="11188794" y="738024"/>
                </a:cubicBezTo>
                <a:cubicBezTo>
                  <a:pt x="11188502" y="738279"/>
                  <a:pt x="11188246" y="738608"/>
                  <a:pt x="11187991" y="738973"/>
                </a:cubicBezTo>
                <a:lnTo>
                  <a:pt x="11170873" y="763135"/>
                </a:lnTo>
                <a:cubicBezTo>
                  <a:pt x="11170690" y="763500"/>
                  <a:pt x="11170471" y="763901"/>
                  <a:pt x="11170289" y="764266"/>
                </a:cubicBezTo>
                <a:cubicBezTo>
                  <a:pt x="11170106" y="764631"/>
                  <a:pt x="11169960" y="764996"/>
                  <a:pt x="11169887" y="765325"/>
                </a:cubicBezTo>
                <a:lnTo>
                  <a:pt x="11151565" y="738900"/>
                </a:lnTo>
                <a:cubicBezTo>
                  <a:pt x="11151346" y="738571"/>
                  <a:pt x="11151091" y="738279"/>
                  <a:pt x="11150799" y="738024"/>
                </a:cubicBezTo>
                <a:cubicBezTo>
                  <a:pt x="11150507" y="737768"/>
                  <a:pt x="11150069" y="737659"/>
                  <a:pt x="11149485" y="737659"/>
                </a:cubicBezTo>
                <a:close/>
                <a:moveTo>
                  <a:pt x="11432494" y="736710"/>
                </a:moveTo>
                <a:cubicBezTo>
                  <a:pt x="11428042" y="736710"/>
                  <a:pt x="11424100" y="737513"/>
                  <a:pt x="11420596" y="739046"/>
                </a:cubicBezTo>
                <a:cubicBezTo>
                  <a:pt x="11417128" y="740579"/>
                  <a:pt x="11414172" y="742732"/>
                  <a:pt x="11411763" y="745470"/>
                </a:cubicBezTo>
                <a:cubicBezTo>
                  <a:pt x="11409354" y="748207"/>
                  <a:pt x="11407529" y="751455"/>
                  <a:pt x="11406252" y="755251"/>
                </a:cubicBezTo>
                <a:cubicBezTo>
                  <a:pt x="11404974" y="759011"/>
                  <a:pt x="11404354" y="763135"/>
                  <a:pt x="11404354" y="767624"/>
                </a:cubicBezTo>
                <a:cubicBezTo>
                  <a:pt x="11404354" y="772953"/>
                  <a:pt x="11405047" y="777661"/>
                  <a:pt x="11406398" y="781786"/>
                </a:cubicBezTo>
                <a:cubicBezTo>
                  <a:pt x="11407748" y="785910"/>
                  <a:pt x="11409683" y="789377"/>
                  <a:pt x="11412201" y="792224"/>
                </a:cubicBezTo>
                <a:cubicBezTo>
                  <a:pt x="11414683" y="795071"/>
                  <a:pt x="11417676" y="797225"/>
                  <a:pt x="11421216" y="798721"/>
                </a:cubicBezTo>
                <a:cubicBezTo>
                  <a:pt x="11424757" y="800218"/>
                  <a:pt x="11428626" y="800947"/>
                  <a:pt x="11432896" y="800947"/>
                </a:cubicBezTo>
                <a:cubicBezTo>
                  <a:pt x="11435268" y="800947"/>
                  <a:pt x="11437568" y="800728"/>
                  <a:pt x="11439904" y="800254"/>
                </a:cubicBezTo>
                <a:cubicBezTo>
                  <a:pt x="11442239" y="799780"/>
                  <a:pt x="11444393" y="799159"/>
                  <a:pt x="11446437" y="798393"/>
                </a:cubicBezTo>
                <a:cubicBezTo>
                  <a:pt x="11448444" y="797626"/>
                  <a:pt x="11450306" y="796714"/>
                  <a:pt x="11451948" y="795619"/>
                </a:cubicBezTo>
                <a:cubicBezTo>
                  <a:pt x="11453591" y="794524"/>
                  <a:pt x="11454904" y="793356"/>
                  <a:pt x="11455926" y="792115"/>
                </a:cubicBezTo>
                <a:lnTo>
                  <a:pt x="11454284" y="790107"/>
                </a:lnTo>
                <a:cubicBezTo>
                  <a:pt x="11453992" y="789706"/>
                  <a:pt x="11453591" y="789487"/>
                  <a:pt x="11453043" y="789487"/>
                </a:cubicBezTo>
                <a:cubicBezTo>
                  <a:pt x="11452642" y="789487"/>
                  <a:pt x="11451948" y="789815"/>
                  <a:pt x="11451036" y="790509"/>
                </a:cubicBezTo>
                <a:cubicBezTo>
                  <a:pt x="11450123" y="791202"/>
                  <a:pt x="11448882" y="792005"/>
                  <a:pt x="11447313" y="792845"/>
                </a:cubicBezTo>
                <a:cubicBezTo>
                  <a:pt x="11445743" y="793721"/>
                  <a:pt x="11443809" y="794487"/>
                  <a:pt x="11441510" y="795181"/>
                </a:cubicBezTo>
                <a:cubicBezTo>
                  <a:pt x="11439210" y="795874"/>
                  <a:pt x="11436509" y="796203"/>
                  <a:pt x="11433370" y="796203"/>
                </a:cubicBezTo>
                <a:cubicBezTo>
                  <a:pt x="11429866" y="796203"/>
                  <a:pt x="11426691" y="795582"/>
                  <a:pt x="11423844" y="794378"/>
                </a:cubicBezTo>
                <a:cubicBezTo>
                  <a:pt x="11420997" y="793137"/>
                  <a:pt x="11418588" y="791348"/>
                  <a:pt x="11416581" y="788939"/>
                </a:cubicBezTo>
                <a:cubicBezTo>
                  <a:pt x="11414574" y="786531"/>
                  <a:pt x="11413041" y="783538"/>
                  <a:pt x="11411946" y="779997"/>
                </a:cubicBezTo>
                <a:cubicBezTo>
                  <a:pt x="11410851" y="776420"/>
                  <a:pt x="11410303" y="772296"/>
                  <a:pt x="11410303" y="767624"/>
                </a:cubicBezTo>
                <a:lnTo>
                  <a:pt x="11410303" y="766493"/>
                </a:lnTo>
                <a:lnTo>
                  <a:pt x="11455671" y="766493"/>
                </a:lnTo>
                <a:cubicBezTo>
                  <a:pt x="11456255" y="766493"/>
                  <a:pt x="11456656" y="766310"/>
                  <a:pt x="11456912" y="765982"/>
                </a:cubicBezTo>
                <a:cubicBezTo>
                  <a:pt x="11457167" y="765617"/>
                  <a:pt x="11457277" y="764996"/>
                  <a:pt x="11457277" y="764084"/>
                </a:cubicBezTo>
                <a:cubicBezTo>
                  <a:pt x="11457277" y="759668"/>
                  <a:pt x="11456656" y="755799"/>
                  <a:pt x="11455379" y="752404"/>
                </a:cubicBezTo>
                <a:cubicBezTo>
                  <a:pt x="11454102" y="749010"/>
                  <a:pt x="11452350" y="746163"/>
                  <a:pt x="11450123" y="743827"/>
                </a:cubicBezTo>
                <a:cubicBezTo>
                  <a:pt x="11447897" y="741528"/>
                  <a:pt x="11445269" y="739739"/>
                  <a:pt x="11442276" y="738535"/>
                </a:cubicBezTo>
                <a:cubicBezTo>
                  <a:pt x="11439283" y="737331"/>
                  <a:pt x="11435998" y="736710"/>
                  <a:pt x="11432494" y="736710"/>
                </a:cubicBezTo>
                <a:close/>
                <a:moveTo>
                  <a:pt x="11110029" y="736710"/>
                </a:moveTo>
                <a:cubicBezTo>
                  <a:pt x="11105577" y="736710"/>
                  <a:pt x="11101635" y="737513"/>
                  <a:pt x="11098131" y="739046"/>
                </a:cubicBezTo>
                <a:cubicBezTo>
                  <a:pt x="11094663" y="740579"/>
                  <a:pt x="11091707" y="742732"/>
                  <a:pt x="11089298" y="745470"/>
                </a:cubicBezTo>
                <a:cubicBezTo>
                  <a:pt x="11086889" y="748207"/>
                  <a:pt x="11085064" y="751455"/>
                  <a:pt x="11083787" y="755251"/>
                </a:cubicBezTo>
                <a:cubicBezTo>
                  <a:pt x="11082509" y="759011"/>
                  <a:pt x="11081889" y="763135"/>
                  <a:pt x="11081889" y="767624"/>
                </a:cubicBezTo>
                <a:cubicBezTo>
                  <a:pt x="11081889" y="772953"/>
                  <a:pt x="11082582" y="777661"/>
                  <a:pt x="11083933" y="781786"/>
                </a:cubicBezTo>
                <a:cubicBezTo>
                  <a:pt x="11085283" y="785910"/>
                  <a:pt x="11087218" y="789377"/>
                  <a:pt x="11089736" y="792224"/>
                </a:cubicBezTo>
                <a:cubicBezTo>
                  <a:pt x="11092218" y="795071"/>
                  <a:pt x="11095247" y="797225"/>
                  <a:pt x="11098751" y="798721"/>
                </a:cubicBezTo>
                <a:cubicBezTo>
                  <a:pt x="11102292" y="800218"/>
                  <a:pt x="11106161" y="800947"/>
                  <a:pt x="11110431" y="800947"/>
                </a:cubicBezTo>
                <a:cubicBezTo>
                  <a:pt x="11112803" y="800947"/>
                  <a:pt x="11115103" y="800728"/>
                  <a:pt x="11117439" y="800254"/>
                </a:cubicBezTo>
                <a:cubicBezTo>
                  <a:pt x="11119774" y="799780"/>
                  <a:pt x="11121928" y="799159"/>
                  <a:pt x="11123972" y="798393"/>
                </a:cubicBezTo>
                <a:cubicBezTo>
                  <a:pt x="11125979" y="797626"/>
                  <a:pt x="11127841" y="796714"/>
                  <a:pt x="11129483" y="795619"/>
                </a:cubicBezTo>
                <a:cubicBezTo>
                  <a:pt x="11131126" y="794524"/>
                  <a:pt x="11132439" y="793356"/>
                  <a:pt x="11133461" y="792115"/>
                </a:cubicBezTo>
                <a:lnTo>
                  <a:pt x="11131819" y="790107"/>
                </a:lnTo>
                <a:cubicBezTo>
                  <a:pt x="11131527" y="789706"/>
                  <a:pt x="11131126" y="789487"/>
                  <a:pt x="11130578" y="789487"/>
                </a:cubicBezTo>
                <a:cubicBezTo>
                  <a:pt x="11130177" y="789487"/>
                  <a:pt x="11129483" y="789815"/>
                  <a:pt x="11128571" y="790509"/>
                </a:cubicBezTo>
                <a:cubicBezTo>
                  <a:pt x="11127658" y="791202"/>
                  <a:pt x="11126417" y="792005"/>
                  <a:pt x="11124848" y="792845"/>
                </a:cubicBezTo>
                <a:cubicBezTo>
                  <a:pt x="11123278" y="793721"/>
                  <a:pt x="11121344" y="794487"/>
                  <a:pt x="11119045" y="795181"/>
                </a:cubicBezTo>
                <a:cubicBezTo>
                  <a:pt x="11116745" y="795874"/>
                  <a:pt x="11114044" y="796203"/>
                  <a:pt x="11110905" y="796203"/>
                </a:cubicBezTo>
                <a:cubicBezTo>
                  <a:pt x="11107401" y="796203"/>
                  <a:pt x="11104226" y="795582"/>
                  <a:pt x="11101379" y="794378"/>
                </a:cubicBezTo>
                <a:cubicBezTo>
                  <a:pt x="11098532" y="793137"/>
                  <a:pt x="11096123" y="791348"/>
                  <a:pt x="11094116" y="788939"/>
                </a:cubicBezTo>
                <a:cubicBezTo>
                  <a:pt x="11092109" y="786531"/>
                  <a:pt x="11090576" y="783538"/>
                  <a:pt x="11089481" y="779997"/>
                </a:cubicBezTo>
                <a:cubicBezTo>
                  <a:pt x="11088386" y="776420"/>
                  <a:pt x="11087838" y="772296"/>
                  <a:pt x="11087838" y="767624"/>
                </a:cubicBezTo>
                <a:lnTo>
                  <a:pt x="11087838" y="766493"/>
                </a:lnTo>
                <a:lnTo>
                  <a:pt x="11133206" y="766493"/>
                </a:lnTo>
                <a:cubicBezTo>
                  <a:pt x="11133790" y="766493"/>
                  <a:pt x="11134191" y="766310"/>
                  <a:pt x="11134447" y="765982"/>
                </a:cubicBezTo>
                <a:cubicBezTo>
                  <a:pt x="11134702" y="765617"/>
                  <a:pt x="11134812" y="764996"/>
                  <a:pt x="11134812" y="764084"/>
                </a:cubicBezTo>
                <a:cubicBezTo>
                  <a:pt x="11134812" y="759668"/>
                  <a:pt x="11134191" y="755799"/>
                  <a:pt x="11132914" y="752404"/>
                </a:cubicBezTo>
                <a:cubicBezTo>
                  <a:pt x="11131637" y="749010"/>
                  <a:pt x="11129885" y="746163"/>
                  <a:pt x="11127658" y="743827"/>
                </a:cubicBezTo>
                <a:cubicBezTo>
                  <a:pt x="11125432" y="741528"/>
                  <a:pt x="11122804" y="739739"/>
                  <a:pt x="11119811" y="738535"/>
                </a:cubicBezTo>
                <a:cubicBezTo>
                  <a:pt x="11116818" y="737331"/>
                  <a:pt x="11113533" y="736710"/>
                  <a:pt x="11110029" y="736710"/>
                </a:cubicBezTo>
                <a:close/>
                <a:moveTo>
                  <a:pt x="11298399" y="736674"/>
                </a:moveTo>
                <a:cubicBezTo>
                  <a:pt x="11293764" y="736674"/>
                  <a:pt x="11289566" y="737732"/>
                  <a:pt x="11285770" y="739922"/>
                </a:cubicBezTo>
                <a:cubicBezTo>
                  <a:pt x="11281975" y="742076"/>
                  <a:pt x="11278653" y="744959"/>
                  <a:pt x="11275770" y="748573"/>
                </a:cubicBezTo>
                <a:lnTo>
                  <a:pt x="11275222" y="739265"/>
                </a:lnTo>
                <a:cubicBezTo>
                  <a:pt x="11275040" y="738207"/>
                  <a:pt x="11274456" y="737696"/>
                  <a:pt x="11273397" y="737696"/>
                </a:cubicBezTo>
                <a:lnTo>
                  <a:pt x="11270076" y="737696"/>
                </a:lnTo>
                <a:lnTo>
                  <a:pt x="11270076" y="800109"/>
                </a:lnTo>
                <a:lnTo>
                  <a:pt x="11276062" y="800109"/>
                </a:lnTo>
                <a:lnTo>
                  <a:pt x="11276062" y="753171"/>
                </a:lnTo>
                <a:cubicBezTo>
                  <a:pt x="11278836" y="749485"/>
                  <a:pt x="11281975" y="746638"/>
                  <a:pt x="11285515" y="744558"/>
                </a:cubicBezTo>
                <a:cubicBezTo>
                  <a:pt x="11289055" y="742477"/>
                  <a:pt x="11292851" y="741455"/>
                  <a:pt x="11296902" y="741455"/>
                </a:cubicBezTo>
                <a:cubicBezTo>
                  <a:pt x="11302377" y="741455"/>
                  <a:pt x="11306465" y="743134"/>
                  <a:pt x="11309129" y="746456"/>
                </a:cubicBezTo>
                <a:cubicBezTo>
                  <a:pt x="11311794" y="749777"/>
                  <a:pt x="11313144" y="754376"/>
                  <a:pt x="11313144" y="760216"/>
                </a:cubicBezTo>
                <a:lnTo>
                  <a:pt x="11313144" y="800109"/>
                </a:lnTo>
                <a:lnTo>
                  <a:pt x="11319167" y="800109"/>
                </a:lnTo>
                <a:lnTo>
                  <a:pt x="11319167" y="760216"/>
                </a:lnTo>
                <a:cubicBezTo>
                  <a:pt x="11319167" y="756566"/>
                  <a:pt x="11318765" y="753317"/>
                  <a:pt x="11317853" y="750434"/>
                </a:cubicBezTo>
                <a:cubicBezTo>
                  <a:pt x="11316940" y="747551"/>
                  <a:pt x="11315663" y="745069"/>
                  <a:pt x="11313947" y="743025"/>
                </a:cubicBezTo>
                <a:cubicBezTo>
                  <a:pt x="11312232" y="740981"/>
                  <a:pt x="11310078" y="739411"/>
                  <a:pt x="11307451" y="738316"/>
                </a:cubicBezTo>
                <a:cubicBezTo>
                  <a:pt x="11304859" y="737221"/>
                  <a:pt x="11301830" y="736674"/>
                  <a:pt x="11298399" y="736674"/>
                </a:cubicBezTo>
                <a:close/>
                <a:moveTo>
                  <a:pt x="11498886" y="736637"/>
                </a:moveTo>
                <a:cubicBezTo>
                  <a:pt x="11496477" y="736637"/>
                  <a:pt x="11494250" y="737002"/>
                  <a:pt x="11492279" y="737732"/>
                </a:cubicBezTo>
                <a:cubicBezTo>
                  <a:pt x="11490272" y="738462"/>
                  <a:pt x="11488483" y="739520"/>
                  <a:pt x="11486877" y="740907"/>
                </a:cubicBezTo>
                <a:cubicBezTo>
                  <a:pt x="11485272" y="742258"/>
                  <a:pt x="11483848" y="743973"/>
                  <a:pt x="11482607" y="745944"/>
                </a:cubicBezTo>
                <a:cubicBezTo>
                  <a:pt x="11481366" y="747915"/>
                  <a:pt x="11480271" y="750178"/>
                  <a:pt x="11479322" y="752733"/>
                </a:cubicBezTo>
                <a:lnTo>
                  <a:pt x="11478848" y="739666"/>
                </a:lnTo>
                <a:cubicBezTo>
                  <a:pt x="11478775" y="738973"/>
                  <a:pt x="11478592" y="738462"/>
                  <a:pt x="11478300" y="738170"/>
                </a:cubicBezTo>
                <a:cubicBezTo>
                  <a:pt x="11478008" y="737878"/>
                  <a:pt x="11477497" y="737732"/>
                  <a:pt x="11476804" y="737732"/>
                </a:cubicBezTo>
                <a:lnTo>
                  <a:pt x="11473592" y="737732"/>
                </a:lnTo>
                <a:lnTo>
                  <a:pt x="11473592" y="800145"/>
                </a:lnTo>
                <a:lnTo>
                  <a:pt x="11479614" y="800145"/>
                </a:lnTo>
                <a:lnTo>
                  <a:pt x="11479614" y="759741"/>
                </a:lnTo>
                <a:cubicBezTo>
                  <a:pt x="11480527" y="756930"/>
                  <a:pt x="11481549" y="754448"/>
                  <a:pt x="11482644" y="752295"/>
                </a:cubicBezTo>
                <a:cubicBezTo>
                  <a:pt x="11483775" y="750141"/>
                  <a:pt x="11485053" y="748317"/>
                  <a:pt x="11486549" y="746857"/>
                </a:cubicBezTo>
                <a:cubicBezTo>
                  <a:pt x="11488009" y="745397"/>
                  <a:pt x="11489688" y="744302"/>
                  <a:pt x="11491549" y="743572"/>
                </a:cubicBezTo>
                <a:cubicBezTo>
                  <a:pt x="11493411" y="742842"/>
                  <a:pt x="11495564" y="742477"/>
                  <a:pt x="11497973" y="742477"/>
                </a:cubicBezTo>
                <a:cubicBezTo>
                  <a:pt x="11499652" y="742477"/>
                  <a:pt x="11501002" y="742623"/>
                  <a:pt x="11502024" y="742915"/>
                </a:cubicBezTo>
                <a:cubicBezTo>
                  <a:pt x="11503046" y="743207"/>
                  <a:pt x="11503813" y="743353"/>
                  <a:pt x="11504324" y="743353"/>
                </a:cubicBezTo>
                <a:cubicBezTo>
                  <a:pt x="11504908" y="743353"/>
                  <a:pt x="11505309" y="742988"/>
                  <a:pt x="11505528" y="742331"/>
                </a:cubicBezTo>
                <a:lnTo>
                  <a:pt x="11506039" y="738206"/>
                </a:lnTo>
                <a:cubicBezTo>
                  <a:pt x="11505090" y="737586"/>
                  <a:pt x="11503959" y="737184"/>
                  <a:pt x="11502718" y="736965"/>
                </a:cubicBezTo>
                <a:cubicBezTo>
                  <a:pt x="11501440" y="736747"/>
                  <a:pt x="11500163" y="736637"/>
                  <a:pt x="11498886" y="736637"/>
                </a:cubicBezTo>
                <a:close/>
                <a:moveTo>
                  <a:pt x="11230110" y="736601"/>
                </a:moveTo>
                <a:cubicBezTo>
                  <a:pt x="11225548" y="736601"/>
                  <a:pt x="11221496" y="737440"/>
                  <a:pt x="11217883" y="739119"/>
                </a:cubicBezTo>
                <a:cubicBezTo>
                  <a:pt x="11214270" y="740798"/>
                  <a:pt x="11210839" y="743280"/>
                  <a:pt x="11207590" y="746529"/>
                </a:cubicBezTo>
                <a:lnTo>
                  <a:pt x="11208649" y="748354"/>
                </a:lnTo>
                <a:cubicBezTo>
                  <a:pt x="11208868" y="748682"/>
                  <a:pt x="11209123" y="748937"/>
                  <a:pt x="11209415" y="749157"/>
                </a:cubicBezTo>
                <a:cubicBezTo>
                  <a:pt x="11209707" y="749375"/>
                  <a:pt x="11210072" y="749485"/>
                  <a:pt x="11210547" y="749485"/>
                </a:cubicBezTo>
                <a:cubicBezTo>
                  <a:pt x="11211204" y="749485"/>
                  <a:pt x="11211970" y="749083"/>
                  <a:pt x="11212883" y="748244"/>
                </a:cubicBezTo>
                <a:cubicBezTo>
                  <a:pt x="11213795" y="747405"/>
                  <a:pt x="11215000" y="746492"/>
                  <a:pt x="11216460" y="745470"/>
                </a:cubicBezTo>
                <a:cubicBezTo>
                  <a:pt x="11217919" y="744448"/>
                  <a:pt x="11219708" y="743536"/>
                  <a:pt x="11221825" y="742696"/>
                </a:cubicBezTo>
                <a:cubicBezTo>
                  <a:pt x="11223942" y="741857"/>
                  <a:pt x="11226533" y="741455"/>
                  <a:pt x="11229526" y="741455"/>
                </a:cubicBezTo>
                <a:cubicBezTo>
                  <a:pt x="11234417" y="741455"/>
                  <a:pt x="11238103" y="743025"/>
                  <a:pt x="11240585" y="746127"/>
                </a:cubicBezTo>
                <a:cubicBezTo>
                  <a:pt x="11243067" y="749229"/>
                  <a:pt x="11244308" y="753682"/>
                  <a:pt x="11244308" y="759449"/>
                </a:cubicBezTo>
                <a:lnTo>
                  <a:pt x="11244308" y="765982"/>
                </a:lnTo>
                <a:cubicBezTo>
                  <a:pt x="11237227" y="766128"/>
                  <a:pt x="11231168" y="766712"/>
                  <a:pt x="11226132" y="767734"/>
                </a:cubicBezTo>
                <a:cubicBezTo>
                  <a:pt x="11221095" y="768756"/>
                  <a:pt x="11216971" y="770070"/>
                  <a:pt x="11213759" y="771749"/>
                </a:cubicBezTo>
                <a:cubicBezTo>
                  <a:pt x="11210547" y="773428"/>
                  <a:pt x="11208174" y="775399"/>
                  <a:pt x="11206678" y="777662"/>
                </a:cubicBezTo>
                <a:cubicBezTo>
                  <a:pt x="11205181" y="779925"/>
                  <a:pt x="11204415" y="782370"/>
                  <a:pt x="11204415" y="784998"/>
                </a:cubicBezTo>
                <a:cubicBezTo>
                  <a:pt x="11204415" y="787845"/>
                  <a:pt x="11204889" y="790254"/>
                  <a:pt x="11205838" y="792298"/>
                </a:cubicBezTo>
                <a:cubicBezTo>
                  <a:pt x="11206787" y="794342"/>
                  <a:pt x="11208028" y="796021"/>
                  <a:pt x="11209598" y="797298"/>
                </a:cubicBezTo>
                <a:cubicBezTo>
                  <a:pt x="11211167" y="798576"/>
                  <a:pt x="11212956" y="799561"/>
                  <a:pt x="11214963" y="800181"/>
                </a:cubicBezTo>
                <a:cubicBezTo>
                  <a:pt x="11216971" y="800802"/>
                  <a:pt x="11219051" y="801130"/>
                  <a:pt x="11221168" y="801130"/>
                </a:cubicBezTo>
                <a:cubicBezTo>
                  <a:pt x="11223686" y="801130"/>
                  <a:pt x="11226059" y="800838"/>
                  <a:pt x="11228176" y="800364"/>
                </a:cubicBezTo>
                <a:cubicBezTo>
                  <a:pt x="11230292" y="799890"/>
                  <a:pt x="11232300" y="799160"/>
                  <a:pt x="11234125" y="798247"/>
                </a:cubicBezTo>
                <a:cubicBezTo>
                  <a:pt x="11235950" y="797335"/>
                  <a:pt x="11237738" y="796203"/>
                  <a:pt x="11239417" y="794853"/>
                </a:cubicBezTo>
                <a:cubicBezTo>
                  <a:pt x="11241096" y="793502"/>
                  <a:pt x="11242811" y="792006"/>
                  <a:pt x="11244527" y="790327"/>
                </a:cubicBezTo>
                <a:lnTo>
                  <a:pt x="11245403" y="798357"/>
                </a:lnTo>
                <a:cubicBezTo>
                  <a:pt x="11245695" y="799525"/>
                  <a:pt x="11246498" y="800109"/>
                  <a:pt x="11247739" y="800109"/>
                </a:cubicBezTo>
                <a:lnTo>
                  <a:pt x="11250111" y="800109"/>
                </a:lnTo>
                <a:lnTo>
                  <a:pt x="11250111" y="759449"/>
                </a:lnTo>
                <a:cubicBezTo>
                  <a:pt x="11250111" y="755982"/>
                  <a:pt x="11249710" y="752806"/>
                  <a:pt x="11248870" y="749996"/>
                </a:cubicBezTo>
                <a:cubicBezTo>
                  <a:pt x="11248031" y="747149"/>
                  <a:pt x="11246790" y="744740"/>
                  <a:pt x="11245147" y="742769"/>
                </a:cubicBezTo>
                <a:cubicBezTo>
                  <a:pt x="11243505" y="740798"/>
                  <a:pt x="11241425" y="739265"/>
                  <a:pt x="11238906" y="738207"/>
                </a:cubicBezTo>
                <a:cubicBezTo>
                  <a:pt x="11236388" y="737148"/>
                  <a:pt x="11233468" y="736601"/>
                  <a:pt x="11230110" y="736601"/>
                </a:cubicBezTo>
                <a:close/>
                <a:moveTo>
                  <a:pt x="11018017" y="736601"/>
                </a:moveTo>
                <a:cubicBezTo>
                  <a:pt x="11013455" y="736601"/>
                  <a:pt x="11009403" y="737440"/>
                  <a:pt x="11005790" y="739119"/>
                </a:cubicBezTo>
                <a:cubicBezTo>
                  <a:pt x="11002177" y="740798"/>
                  <a:pt x="10998746" y="743280"/>
                  <a:pt x="10995497" y="746529"/>
                </a:cubicBezTo>
                <a:lnTo>
                  <a:pt x="10996556" y="748354"/>
                </a:lnTo>
                <a:cubicBezTo>
                  <a:pt x="10996775" y="748682"/>
                  <a:pt x="10997030" y="748937"/>
                  <a:pt x="10997322" y="749157"/>
                </a:cubicBezTo>
                <a:cubicBezTo>
                  <a:pt x="10997614" y="749375"/>
                  <a:pt x="10997979" y="749485"/>
                  <a:pt x="10998454" y="749485"/>
                </a:cubicBezTo>
                <a:cubicBezTo>
                  <a:pt x="10999111" y="749485"/>
                  <a:pt x="10999877" y="749083"/>
                  <a:pt x="11000790" y="748244"/>
                </a:cubicBezTo>
                <a:cubicBezTo>
                  <a:pt x="11001702" y="747405"/>
                  <a:pt x="11002907" y="746492"/>
                  <a:pt x="11004367" y="745470"/>
                </a:cubicBezTo>
                <a:cubicBezTo>
                  <a:pt x="11005826" y="744448"/>
                  <a:pt x="11007615" y="743536"/>
                  <a:pt x="11009732" y="742696"/>
                </a:cubicBezTo>
                <a:cubicBezTo>
                  <a:pt x="11011849" y="741857"/>
                  <a:pt x="11014440" y="741455"/>
                  <a:pt x="11017433" y="741455"/>
                </a:cubicBezTo>
                <a:cubicBezTo>
                  <a:pt x="11022324" y="741455"/>
                  <a:pt x="11026010" y="743025"/>
                  <a:pt x="11028492" y="746127"/>
                </a:cubicBezTo>
                <a:cubicBezTo>
                  <a:pt x="11030974" y="749229"/>
                  <a:pt x="11032215" y="753682"/>
                  <a:pt x="11032215" y="759449"/>
                </a:cubicBezTo>
                <a:lnTo>
                  <a:pt x="11032215" y="765982"/>
                </a:lnTo>
                <a:cubicBezTo>
                  <a:pt x="11025134" y="766128"/>
                  <a:pt x="11019075" y="766712"/>
                  <a:pt x="11014039" y="767734"/>
                </a:cubicBezTo>
                <a:cubicBezTo>
                  <a:pt x="11009002" y="768756"/>
                  <a:pt x="11004878" y="770070"/>
                  <a:pt x="11001666" y="771749"/>
                </a:cubicBezTo>
                <a:cubicBezTo>
                  <a:pt x="10998454" y="773428"/>
                  <a:pt x="10996081" y="775399"/>
                  <a:pt x="10994585" y="777662"/>
                </a:cubicBezTo>
                <a:cubicBezTo>
                  <a:pt x="10993088" y="779925"/>
                  <a:pt x="10992322" y="782370"/>
                  <a:pt x="10992322" y="784998"/>
                </a:cubicBezTo>
                <a:cubicBezTo>
                  <a:pt x="10992322" y="787845"/>
                  <a:pt x="10992796" y="790254"/>
                  <a:pt x="10993745" y="792298"/>
                </a:cubicBezTo>
                <a:cubicBezTo>
                  <a:pt x="10994694" y="794342"/>
                  <a:pt x="10995935" y="796021"/>
                  <a:pt x="10997505" y="797298"/>
                </a:cubicBezTo>
                <a:cubicBezTo>
                  <a:pt x="10999074" y="798576"/>
                  <a:pt x="11000863" y="799561"/>
                  <a:pt x="11002870" y="800181"/>
                </a:cubicBezTo>
                <a:cubicBezTo>
                  <a:pt x="11004878" y="800802"/>
                  <a:pt x="11006958" y="801130"/>
                  <a:pt x="11009075" y="801130"/>
                </a:cubicBezTo>
                <a:cubicBezTo>
                  <a:pt x="11011593" y="801130"/>
                  <a:pt x="11013966" y="800838"/>
                  <a:pt x="11016083" y="800364"/>
                </a:cubicBezTo>
                <a:cubicBezTo>
                  <a:pt x="11018199" y="799890"/>
                  <a:pt x="11020207" y="799160"/>
                  <a:pt x="11022032" y="798247"/>
                </a:cubicBezTo>
                <a:cubicBezTo>
                  <a:pt x="11023857" y="797335"/>
                  <a:pt x="11025645" y="796203"/>
                  <a:pt x="11027324" y="794853"/>
                </a:cubicBezTo>
                <a:cubicBezTo>
                  <a:pt x="11029003" y="793502"/>
                  <a:pt x="11030718" y="792006"/>
                  <a:pt x="11032434" y="790327"/>
                </a:cubicBezTo>
                <a:lnTo>
                  <a:pt x="11033310" y="798357"/>
                </a:lnTo>
                <a:cubicBezTo>
                  <a:pt x="11033602" y="799525"/>
                  <a:pt x="11034405" y="800109"/>
                  <a:pt x="11035646" y="800109"/>
                </a:cubicBezTo>
                <a:lnTo>
                  <a:pt x="11038018" y="800109"/>
                </a:lnTo>
                <a:lnTo>
                  <a:pt x="11038018" y="759449"/>
                </a:lnTo>
                <a:cubicBezTo>
                  <a:pt x="11038018" y="755982"/>
                  <a:pt x="11037617" y="752806"/>
                  <a:pt x="11036777" y="749996"/>
                </a:cubicBezTo>
                <a:cubicBezTo>
                  <a:pt x="11035938" y="747149"/>
                  <a:pt x="11034697" y="744740"/>
                  <a:pt x="11033054" y="742769"/>
                </a:cubicBezTo>
                <a:cubicBezTo>
                  <a:pt x="11031412" y="740798"/>
                  <a:pt x="11029332" y="739265"/>
                  <a:pt x="11026813" y="738207"/>
                </a:cubicBezTo>
                <a:cubicBezTo>
                  <a:pt x="11024295" y="737148"/>
                  <a:pt x="11021375" y="736601"/>
                  <a:pt x="11018017" y="736601"/>
                </a:cubicBezTo>
                <a:close/>
                <a:moveTo>
                  <a:pt x="11832117" y="734703"/>
                </a:moveTo>
                <a:cubicBezTo>
                  <a:pt x="11830219" y="734703"/>
                  <a:pt x="11828430" y="734922"/>
                  <a:pt x="11826824" y="735360"/>
                </a:cubicBezTo>
                <a:cubicBezTo>
                  <a:pt x="11825219" y="735798"/>
                  <a:pt x="11823686" y="736382"/>
                  <a:pt x="11822299" y="737148"/>
                </a:cubicBezTo>
                <a:cubicBezTo>
                  <a:pt x="11820912" y="737915"/>
                  <a:pt x="11819598" y="738791"/>
                  <a:pt x="11818357" y="739849"/>
                </a:cubicBezTo>
                <a:cubicBezTo>
                  <a:pt x="11817116" y="740908"/>
                  <a:pt x="11815948" y="742076"/>
                  <a:pt x="11814816" y="743317"/>
                </a:cubicBezTo>
                <a:lnTo>
                  <a:pt x="11813794" y="738535"/>
                </a:lnTo>
                <a:cubicBezTo>
                  <a:pt x="11813174" y="736674"/>
                  <a:pt x="11811860" y="735725"/>
                  <a:pt x="11809853" y="735725"/>
                </a:cubicBezTo>
                <a:lnTo>
                  <a:pt x="11800363" y="735725"/>
                </a:lnTo>
                <a:lnTo>
                  <a:pt x="11800363" y="800072"/>
                </a:lnTo>
                <a:lnTo>
                  <a:pt x="11800363" y="800181"/>
                </a:lnTo>
                <a:lnTo>
                  <a:pt x="11815911" y="800181"/>
                </a:lnTo>
                <a:lnTo>
                  <a:pt x="11815911" y="753062"/>
                </a:lnTo>
                <a:cubicBezTo>
                  <a:pt x="11817590" y="751127"/>
                  <a:pt x="11819415" y="749594"/>
                  <a:pt x="11821350" y="748499"/>
                </a:cubicBezTo>
                <a:cubicBezTo>
                  <a:pt x="11823321" y="747368"/>
                  <a:pt x="11825401" y="746821"/>
                  <a:pt x="11827664" y="746821"/>
                </a:cubicBezTo>
                <a:cubicBezTo>
                  <a:pt x="11831022" y="746821"/>
                  <a:pt x="11833540" y="747806"/>
                  <a:pt x="11835292" y="749777"/>
                </a:cubicBezTo>
                <a:cubicBezTo>
                  <a:pt x="11837008" y="751748"/>
                  <a:pt x="11837884" y="754887"/>
                  <a:pt x="11837884" y="759194"/>
                </a:cubicBezTo>
                <a:lnTo>
                  <a:pt x="11837884" y="800145"/>
                </a:lnTo>
                <a:lnTo>
                  <a:pt x="11853432" y="800145"/>
                </a:lnTo>
                <a:lnTo>
                  <a:pt x="11853432" y="759194"/>
                </a:lnTo>
                <a:cubicBezTo>
                  <a:pt x="11853432" y="757186"/>
                  <a:pt x="11853724" y="755398"/>
                  <a:pt x="11854308" y="753865"/>
                </a:cubicBezTo>
                <a:cubicBezTo>
                  <a:pt x="11854892" y="752295"/>
                  <a:pt x="11855695" y="751018"/>
                  <a:pt x="11856717" y="749996"/>
                </a:cubicBezTo>
                <a:cubicBezTo>
                  <a:pt x="11857739" y="748974"/>
                  <a:pt x="11858943" y="748207"/>
                  <a:pt x="11860294" y="747660"/>
                </a:cubicBezTo>
                <a:cubicBezTo>
                  <a:pt x="11861644" y="747113"/>
                  <a:pt x="11863104" y="746857"/>
                  <a:pt x="11864710" y="746857"/>
                </a:cubicBezTo>
                <a:cubicBezTo>
                  <a:pt x="11868214" y="746857"/>
                  <a:pt x="11870842" y="747879"/>
                  <a:pt x="11872630" y="749959"/>
                </a:cubicBezTo>
                <a:cubicBezTo>
                  <a:pt x="11874419" y="752003"/>
                  <a:pt x="11875331" y="755106"/>
                  <a:pt x="11875331" y="759194"/>
                </a:cubicBezTo>
                <a:lnTo>
                  <a:pt x="11875331" y="800145"/>
                </a:lnTo>
                <a:lnTo>
                  <a:pt x="11890806" y="800145"/>
                </a:lnTo>
                <a:lnTo>
                  <a:pt x="11890806" y="759194"/>
                </a:lnTo>
                <a:cubicBezTo>
                  <a:pt x="11890806" y="755288"/>
                  <a:pt x="11890332" y="751821"/>
                  <a:pt x="11889346" y="748828"/>
                </a:cubicBezTo>
                <a:cubicBezTo>
                  <a:pt x="11888361" y="745799"/>
                  <a:pt x="11886938" y="743244"/>
                  <a:pt x="11885040" y="741163"/>
                </a:cubicBezTo>
                <a:cubicBezTo>
                  <a:pt x="11883142" y="739046"/>
                  <a:pt x="11880842" y="737477"/>
                  <a:pt x="11878068" y="736382"/>
                </a:cubicBezTo>
                <a:cubicBezTo>
                  <a:pt x="11875295" y="735287"/>
                  <a:pt x="11872119" y="734740"/>
                  <a:pt x="11868579" y="734740"/>
                </a:cubicBezTo>
                <a:cubicBezTo>
                  <a:pt x="11866498" y="734740"/>
                  <a:pt x="11864491" y="734959"/>
                  <a:pt x="11862447" y="735433"/>
                </a:cubicBezTo>
                <a:cubicBezTo>
                  <a:pt x="11860440" y="735871"/>
                  <a:pt x="11858505" y="736601"/>
                  <a:pt x="11856717" y="737550"/>
                </a:cubicBezTo>
                <a:cubicBezTo>
                  <a:pt x="11854892" y="738499"/>
                  <a:pt x="11853249" y="739740"/>
                  <a:pt x="11851753" y="741273"/>
                </a:cubicBezTo>
                <a:cubicBezTo>
                  <a:pt x="11850257" y="742769"/>
                  <a:pt x="11849016" y="744631"/>
                  <a:pt x="11847994" y="746748"/>
                </a:cubicBezTo>
                <a:cubicBezTo>
                  <a:pt x="11846680" y="743098"/>
                  <a:pt x="11844745" y="740178"/>
                  <a:pt x="11842117" y="737988"/>
                </a:cubicBezTo>
                <a:cubicBezTo>
                  <a:pt x="11839490" y="735798"/>
                  <a:pt x="11836168" y="734703"/>
                  <a:pt x="11832117" y="734703"/>
                </a:cubicBezTo>
                <a:close/>
                <a:moveTo>
                  <a:pt x="11727038" y="734703"/>
                </a:moveTo>
                <a:cubicBezTo>
                  <a:pt x="11725140" y="734703"/>
                  <a:pt x="11723351" y="734922"/>
                  <a:pt x="11721745" y="735360"/>
                </a:cubicBezTo>
                <a:cubicBezTo>
                  <a:pt x="11720140" y="735798"/>
                  <a:pt x="11718607" y="736382"/>
                  <a:pt x="11717220" y="737148"/>
                </a:cubicBezTo>
                <a:cubicBezTo>
                  <a:pt x="11715833" y="737915"/>
                  <a:pt x="11714519" y="738791"/>
                  <a:pt x="11713278" y="739849"/>
                </a:cubicBezTo>
                <a:cubicBezTo>
                  <a:pt x="11712037" y="740908"/>
                  <a:pt x="11710869" y="742076"/>
                  <a:pt x="11709737" y="743317"/>
                </a:cubicBezTo>
                <a:lnTo>
                  <a:pt x="11708715" y="738535"/>
                </a:lnTo>
                <a:cubicBezTo>
                  <a:pt x="11708095" y="736674"/>
                  <a:pt x="11706781" y="735725"/>
                  <a:pt x="11704774" y="735725"/>
                </a:cubicBezTo>
                <a:lnTo>
                  <a:pt x="11695284" y="735725"/>
                </a:lnTo>
                <a:lnTo>
                  <a:pt x="11695284" y="800072"/>
                </a:lnTo>
                <a:lnTo>
                  <a:pt x="11695284" y="800181"/>
                </a:lnTo>
                <a:lnTo>
                  <a:pt x="11710832" y="800181"/>
                </a:lnTo>
                <a:lnTo>
                  <a:pt x="11710832" y="753062"/>
                </a:lnTo>
                <a:cubicBezTo>
                  <a:pt x="11712511" y="751127"/>
                  <a:pt x="11714336" y="749594"/>
                  <a:pt x="11716271" y="748499"/>
                </a:cubicBezTo>
                <a:cubicBezTo>
                  <a:pt x="11718242" y="747368"/>
                  <a:pt x="11720322" y="746821"/>
                  <a:pt x="11722585" y="746821"/>
                </a:cubicBezTo>
                <a:cubicBezTo>
                  <a:pt x="11725943" y="746821"/>
                  <a:pt x="11728461" y="747806"/>
                  <a:pt x="11730213" y="749777"/>
                </a:cubicBezTo>
                <a:cubicBezTo>
                  <a:pt x="11731929" y="751748"/>
                  <a:pt x="11732805" y="754887"/>
                  <a:pt x="11732805" y="759194"/>
                </a:cubicBezTo>
                <a:lnTo>
                  <a:pt x="11732805" y="800145"/>
                </a:lnTo>
                <a:lnTo>
                  <a:pt x="11748353" y="800145"/>
                </a:lnTo>
                <a:lnTo>
                  <a:pt x="11748353" y="759194"/>
                </a:lnTo>
                <a:cubicBezTo>
                  <a:pt x="11748353" y="757186"/>
                  <a:pt x="11748645" y="755398"/>
                  <a:pt x="11749229" y="753865"/>
                </a:cubicBezTo>
                <a:cubicBezTo>
                  <a:pt x="11749813" y="752295"/>
                  <a:pt x="11750616" y="751018"/>
                  <a:pt x="11751638" y="749996"/>
                </a:cubicBezTo>
                <a:cubicBezTo>
                  <a:pt x="11752660" y="748974"/>
                  <a:pt x="11753864" y="748207"/>
                  <a:pt x="11755215" y="747660"/>
                </a:cubicBezTo>
                <a:cubicBezTo>
                  <a:pt x="11756565" y="747113"/>
                  <a:pt x="11758025" y="746857"/>
                  <a:pt x="11759631" y="746857"/>
                </a:cubicBezTo>
                <a:cubicBezTo>
                  <a:pt x="11763135" y="746857"/>
                  <a:pt x="11765763" y="747879"/>
                  <a:pt x="11767551" y="749959"/>
                </a:cubicBezTo>
                <a:cubicBezTo>
                  <a:pt x="11769340" y="752003"/>
                  <a:pt x="11770252" y="755106"/>
                  <a:pt x="11770252" y="759194"/>
                </a:cubicBezTo>
                <a:lnTo>
                  <a:pt x="11770252" y="800145"/>
                </a:lnTo>
                <a:lnTo>
                  <a:pt x="11785727" y="800145"/>
                </a:lnTo>
                <a:lnTo>
                  <a:pt x="11785727" y="759194"/>
                </a:lnTo>
                <a:cubicBezTo>
                  <a:pt x="11785727" y="755288"/>
                  <a:pt x="11785253" y="751821"/>
                  <a:pt x="11784267" y="748828"/>
                </a:cubicBezTo>
                <a:cubicBezTo>
                  <a:pt x="11783282" y="745799"/>
                  <a:pt x="11781859" y="743244"/>
                  <a:pt x="11779961" y="741163"/>
                </a:cubicBezTo>
                <a:cubicBezTo>
                  <a:pt x="11778063" y="739046"/>
                  <a:pt x="11775763" y="737477"/>
                  <a:pt x="11772989" y="736382"/>
                </a:cubicBezTo>
                <a:cubicBezTo>
                  <a:pt x="11770216" y="735287"/>
                  <a:pt x="11767040" y="734740"/>
                  <a:pt x="11763500" y="734740"/>
                </a:cubicBezTo>
                <a:cubicBezTo>
                  <a:pt x="11761419" y="734740"/>
                  <a:pt x="11759412" y="734959"/>
                  <a:pt x="11757368" y="735433"/>
                </a:cubicBezTo>
                <a:cubicBezTo>
                  <a:pt x="11755361" y="735871"/>
                  <a:pt x="11753426" y="736601"/>
                  <a:pt x="11751638" y="737550"/>
                </a:cubicBezTo>
                <a:cubicBezTo>
                  <a:pt x="11749813" y="738499"/>
                  <a:pt x="11748170" y="739740"/>
                  <a:pt x="11746674" y="741273"/>
                </a:cubicBezTo>
                <a:cubicBezTo>
                  <a:pt x="11745178" y="742769"/>
                  <a:pt x="11743937" y="744631"/>
                  <a:pt x="11742915" y="746748"/>
                </a:cubicBezTo>
                <a:cubicBezTo>
                  <a:pt x="11741601" y="743098"/>
                  <a:pt x="11739666" y="740178"/>
                  <a:pt x="11737038" y="737988"/>
                </a:cubicBezTo>
                <a:cubicBezTo>
                  <a:pt x="11734410" y="735798"/>
                  <a:pt x="11731089" y="734703"/>
                  <a:pt x="11727038" y="734703"/>
                </a:cubicBezTo>
                <a:close/>
                <a:moveTo>
                  <a:pt x="11656814" y="734557"/>
                </a:moveTo>
                <a:cubicBezTo>
                  <a:pt x="11646412" y="734557"/>
                  <a:pt x="11637507" y="737915"/>
                  <a:pt x="11630097" y="744704"/>
                </a:cubicBezTo>
                <a:lnTo>
                  <a:pt x="11632725" y="749740"/>
                </a:lnTo>
                <a:cubicBezTo>
                  <a:pt x="11633200" y="750470"/>
                  <a:pt x="11633784" y="751164"/>
                  <a:pt x="11634550" y="751711"/>
                </a:cubicBezTo>
                <a:cubicBezTo>
                  <a:pt x="11635317" y="752259"/>
                  <a:pt x="11636229" y="752551"/>
                  <a:pt x="11637324" y="752551"/>
                </a:cubicBezTo>
                <a:cubicBezTo>
                  <a:pt x="11638602" y="752551"/>
                  <a:pt x="11639733" y="752259"/>
                  <a:pt x="11640755" y="751675"/>
                </a:cubicBezTo>
                <a:cubicBezTo>
                  <a:pt x="11641777" y="751091"/>
                  <a:pt x="11642945" y="750434"/>
                  <a:pt x="11644186" y="749704"/>
                </a:cubicBezTo>
                <a:cubicBezTo>
                  <a:pt x="11645427" y="748974"/>
                  <a:pt x="11646887" y="748317"/>
                  <a:pt x="11648529" y="747733"/>
                </a:cubicBezTo>
                <a:cubicBezTo>
                  <a:pt x="11650172" y="747149"/>
                  <a:pt x="11652252" y="746857"/>
                  <a:pt x="11654770" y="746857"/>
                </a:cubicBezTo>
                <a:cubicBezTo>
                  <a:pt x="11658238" y="746857"/>
                  <a:pt x="11660902" y="747879"/>
                  <a:pt x="11662727" y="749959"/>
                </a:cubicBezTo>
                <a:cubicBezTo>
                  <a:pt x="11664588" y="752040"/>
                  <a:pt x="11665501" y="755215"/>
                  <a:pt x="11665501" y="759522"/>
                </a:cubicBezTo>
                <a:lnTo>
                  <a:pt x="11665501" y="763281"/>
                </a:lnTo>
                <a:cubicBezTo>
                  <a:pt x="11660610" y="763391"/>
                  <a:pt x="11656267" y="763756"/>
                  <a:pt x="11652471" y="764376"/>
                </a:cubicBezTo>
                <a:cubicBezTo>
                  <a:pt x="11648675" y="764960"/>
                  <a:pt x="11645317" y="765763"/>
                  <a:pt x="11642470" y="766712"/>
                </a:cubicBezTo>
                <a:cubicBezTo>
                  <a:pt x="11639623" y="767698"/>
                  <a:pt x="11637215" y="768829"/>
                  <a:pt x="11635244" y="770107"/>
                </a:cubicBezTo>
                <a:cubicBezTo>
                  <a:pt x="11633309" y="771384"/>
                  <a:pt x="11631703" y="772771"/>
                  <a:pt x="11630462" y="774231"/>
                </a:cubicBezTo>
                <a:cubicBezTo>
                  <a:pt x="11629221" y="775691"/>
                  <a:pt x="11628345" y="777224"/>
                  <a:pt x="11627798" y="778830"/>
                </a:cubicBezTo>
                <a:cubicBezTo>
                  <a:pt x="11627250" y="780436"/>
                  <a:pt x="11626995" y="782042"/>
                  <a:pt x="11626995" y="783684"/>
                </a:cubicBezTo>
                <a:cubicBezTo>
                  <a:pt x="11626995" y="786567"/>
                  <a:pt x="11627469" y="789086"/>
                  <a:pt x="11628382" y="791276"/>
                </a:cubicBezTo>
                <a:cubicBezTo>
                  <a:pt x="11629331" y="793466"/>
                  <a:pt x="11630608" y="795291"/>
                  <a:pt x="11632287" y="796751"/>
                </a:cubicBezTo>
                <a:cubicBezTo>
                  <a:pt x="11633966" y="798210"/>
                  <a:pt x="11635937" y="799305"/>
                  <a:pt x="11638237" y="800035"/>
                </a:cubicBezTo>
                <a:cubicBezTo>
                  <a:pt x="11640536" y="800765"/>
                  <a:pt x="11643054" y="801130"/>
                  <a:pt x="11645755" y="801130"/>
                </a:cubicBezTo>
                <a:cubicBezTo>
                  <a:pt x="11648055" y="801130"/>
                  <a:pt x="11650172" y="800948"/>
                  <a:pt x="11652070" y="800546"/>
                </a:cubicBezTo>
                <a:cubicBezTo>
                  <a:pt x="11653967" y="800145"/>
                  <a:pt x="11655756" y="799597"/>
                  <a:pt x="11657435" y="798831"/>
                </a:cubicBezTo>
                <a:cubicBezTo>
                  <a:pt x="11659077" y="798101"/>
                  <a:pt x="11660720" y="797152"/>
                  <a:pt x="11662253" y="796057"/>
                </a:cubicBezTo>
                <a:cubicBezTo>
                  <a:pt x="11663822" y="794926"/>
                  <a:pt x="11665392" y="793648"/>
                  <a:pt x="11667034" y="792188"/>
                </a:cubicBezTo>
                <a:lnTo>
                  <a:pt x="11668421" y="796824"/>
                </a:lnTo>
                <a:cubicBezTo>
                  <a:pt x="11668895" y="798174"/>
                  <a:pt x="11669516" y="799050"/>
                  <a:pt x="11670319" y="799488"/>
                </a:cubicBezTo>
                <a:cubicBezTo>
                  <a:pt x="11671122" y="799926"/>
                  <a:pt x="11672253" y="800145"/>
                  <a:pt x="11673713" y="800145"/>
                </a:cubicBezTo>
                <a:lnTo>
                  <a:pt x="11680721" y="800145"/>
                </a:lnTo>
                <a:lnTo>
                  <a:pt x="11680721" y="759485"/>
                </a:lnTo>
                <a:cubicBezTo>
                  <a:pt x="11680721" y="755836"/>
                  <a:pt x="11680173" y="752514"/>
                  <a:pt x="11679115" y="749448"/>
                </a:cubicBezTo>
                <a:cubicBezTo>
                  <a:pt x="11678056" y="746383"/>
                  <a:pt x="11676487" y="743755"/>
                  <a:pt x="11674443" y="741565"/>
                </a:cubicBezTo>
                <a:cubicBezTo>
                  <a:pt x="11672399" y="739375"/>
                  <a:pt x="11669881" y="737659"/>
                  <a:pt x="11666924" y="736418"/>
                </a:cubicBezTo>
                <a:cubicBezTo>
                  <a:pt x="11663932" y="735177"/>
                  <a:pt x="11660574" y="734557"/>
                  <a:pt x="11656814" y="734557"/>
                </a:cubicBezTo>
                <a:close/>
                <a:moveTo>
                  <a:pt x="11525784" y="716089"/>
                </a:moveTo>
                <a:cubicBezTo>
                  <a:pt x="11524872" y="716089"/>
                  <a:pt x="11524105" y="716308"/>
                  <a:pt x="11523521" y="716782"/>
                </a:cubicBezTo>
                <a:cubicBezTo>
                  <a:pt x="11522937" y="717220"/>
                  <a:pt x="11522536" y="717877"/>
                  <a:pt x="11522317" y="718717"/>
                </a:cubicBezTo>
                <a:lnTo>
                  <a:pt x="11519069" y="736273"/>
                </a:lnTo>
                <a:lnTo>
                  <a:pt x="11508703" y="737952"/>
                </a:lnTo>
                <a:lnTo>
                  <a:pt x="11508703" y="744083"/>
                </a:lnTo>
                <a:cubicBezTo>
                  <a:pt x="11508703" y="745178"/>
                  <a:pt x="11508995" y="745981"/>
                  <a:pt x="11509579" y="746529"/>
                </a:cubicBezTo>
                <a:cubicBezTo>
                  <a:pt x="11510163" y="747076"/>
                  <a:pt x="11510856" y="747332"/>
                  <a:pt x="11511696" y="747332"/>
                </a:cubicBezTo>
                <a:lnTo>
                  <a:pt x="11518266" y="747332"/>
                </a:lnTo>
                <a:lnTo>
                  <a:pt x="11518266" y="783283"/>
                </a:lnTo>
                <a:cubicBezTo>
                  <a:pt x="11518266" y="788831"/>
                  <a:pt x="11519762" y="793210"/>
                  <a:pt x="11522755" y="796349"/>
                </a:cubicBezTo>
                <a:cubicBezTo>
                  <a:pt x="11525748" y="799525"/>
                  <a:pt x="11530018" y="801094"/>
                  <a:pt x="11535639" y="801094"/>
                </a:cubicBezTo>
                <a:cubicBezTo>
                  <a:pt x="11538778" y="801094"/>
                  <a:pt x="11541807" y="800620"/>
                  <a:pt x="11544764" y="799671"/>
                </a:cubicBezTo>
                <a:cubicBezTo>
                  <a:pt x="11547683" y="798722"/>
                  <a:pt x="11550275" y="797298"/>
                  <a:pt x="11552538" y="795400"/>
                </a:cubicBezTo>
                <a:lnTo>
                  <a:pt x="11547902" y="787882"/>
                </a:lnTo>
                <a:cubicBezTo>
                  <a:pt x="11547574" y="787444"/>
                  <a:pt x="11547245" y="787079"/>
                  <a:pt x="11546953" y="786860"/>
                </a:cubicBezTo>
                <a:cubicBezTo>
                  <a:pt x="11546661" y="786641"/>
                  <a:pt x="11546297" y="786531"/>
                  <a:pt x="11545822" y="786531"/>
                </a:cubicBezTo>
                <a:cubicBezTo>
                  <a:pt x="11545457" y="786531"/>
                  <a:pt x="11545056" y="786641"/>
                  <a:pt x="11544691" y="786860"/>
                </a:cubicBezTo>
                <a:cubicBezTo>
                  <a:pt x="11544326" y="787115"/>
                  <a:pt x="11543888" y="787334"/>
                  <a:pt x="11543413" y="787590"/>
                </a:cubicBezTo>
                <a:cubicBezTo>
                  <a:pt x="11542939" y="787845"/>
                  <a:pt x="11542391" y="788101"/>
                  <a:pt x="11541734" y="788320"/>
                </a:cubicBezTo>
                <a:cubicBezTo>
                  <a:pt x="11541077" y="788539"/>
                  <a:pt x="11540274" y="788648"/>
                  <a:pt x="11539325" y="788648"/>
                </a:cubicBezTo>
                <a:cubicBezTo>
                  <a:pt x="11537610" y="788648"/>
                  <a:pt x="11536259" y="788101"/>
                  <a:pt x="11535274" y="786969"/>
                </a:cubicBezTo>
                <a:cubicBezTo>
                  <a:pt x="11534288" y="785838"/>
                  <a:pt x="11533814" y="784268"/>
                  <a:pt x="11533814" y="782261"/>
                </a:cubicBezTo>
                <a:lnTo>
                  <a:pt x="11533814" y="747368"/>
                </a:lnTo>
                <a:lnTo>
                  <a:pt x="11551005" y="747368"/>
                </a:lnTo>
                <a:lnTo>
                  <a:pt x="11551005" y="736346"/>
                </a:lnTo>
                <a:lnTo>
                  <a:pt x="11533814" y="736346"/>
                </a:lnTo>
                <a:lnTo>
                  <a:pt x="11533814" y="716089"/>
                </a:lnTo>
                <a:close/>
                <a:moveTo>
                  <a:pt x="11381688" y="708826"/>
                </a:moveTo>
                <a:lnTo>
                  <a:pt x="11381688" y="745836"/>
                </a:lnTo>
                <a:cubicBezTo>
                  <a:pt x="11379389" y="742770"/>
                  <a:pt x="11376688" y="740470"/>
                  <a:pt x="11373585" y="738937"/>
                </a:cubicBezTo>
                <a:cubicBezTo>
                  <a:pt x="11370483" y="737368"/>
                  <a:pt x="11366833" y="736601"/>
                  <a:pt x="11362599" y="736601"/>
                </a:cubicBezTo>
                <a:cubicBezTo>
                  <a:pt x="11358183" y="736601"/>
                  <a:pt x="11354314" y="737441"/>
                  <a:pt x="11350956" y="739120"/>
                </a:cubicBezTo>
                <a:cubicBezTo>
                  <a:pt x="11347599" y="740799"/>
                  <a:pt x="11344752" y="743062"/>
                  <a:pt x="11342452" y="745982"/>
                </a:cubicBezTo>
                <a:cubicBezTo>
                  <a:pt x="11340116" y="748901"/>
                  <a:pt x="11338401" y="752296"/>
                  <a:pt x="11337196" y="756274"/>
                </a:cubicBezTo>
                <a:cubicBezTo>
                  <a:pt x="11335992" y="760252"/>
                  <a:pt x="11335408" y="764486"/>
                  <a:pt x="11335408" y="769049"/>
                </a:cubicBezTo>
                <a:cubicBezTo>
                  <a:pt x="11335408" y="779670"/>
                  <a:pt x="11337525" y="787663"/>
                  <a:pt x="11341795" y="792955"/>
                </a:cubicBezTo>
                <a:cubicBezTo>
                  <a:pt x="11346066" y="798247"/>
                  <a:pt x="11352051" y="800912"/>
                  <a:pt x="11359753" y="800912"/>
                </a:cubicBezTo>
                <a:cubicBezTo>
                  <a:pt x="11364351" y="800912"/>
                  <a:pt x="11368476" y="799817"/>
                  <a:pt x="11372162" y="797591"/>
                </a:cubicBezTo>
                <a:cubicBezTo>
                  <a:pt x="11375848" y="795364"/>
                  <a:pt x="11379060" y="792371"/>
                  <a:pt x="11381834" y="788612"/>
                </a:cubicBezTo>
                <a:lnTo>
                  <a:pt x="11382455" y="798466"/>
                </a:lnTo>
                <a:cubicBezTo>
                  <a:pt x="11382637" y="799561"/>
                  <a:pt x="11383258" y="800109"/>
                  <a:pt x="11384353" y="800109"/>
                </a:cubicBezTo>
                <a:lnTo>
                  <a:pt x="11387601" y="800109"/>
                </a:lnTo>
                <a:lnTo>
                  <a:pt x="11387601" y="708826"/>
                </a:lnTo>
                <a:close/>
                <a:moveTo>
                  <a:pt x="11058530" y="708826"/>
                </a:moveTo>
                <a:lnTo>
                  <a:pt x="11058530" y="800109"/>
                </a:lnTo>
                <a:lnTo>
                  <a:pt x="11064552" y="800109"/>
                </a:lnTo>
                <a:lnTo>
                  <a:pt x="11064552" y="708826"/>
                </a:lnTo>
                <a:close/>
                <a:moveTo>
                  <a:pt x="11560896" y="706855"/>
                </a:moveTo>
                <a:lnTo>
                  <a:pt x="11560896" y="800072"/>
                </a:lnTo>
                <a:lnTo>
                  <a:pt x="11576371" y="800072"/>
                </a:lnTo>
                <a:lnTo>
                  <a:pt x="11576371" y="753537"/>
                </a:lnTo>
                <a:cubicBezTo>
                  <a:pt x="11578452" y="751420"/>
                  <a:pt x="11580678" y="749777"/>
                  <a:pt x="11583014" y="748573"/>
                </a:cubicBezTo>
                <a:cubicBezTo>
                  <a:pt x="11585350" y="747368"/>
                  <a:pt x="11587868" y="746748"/>
                  <a:pt x="11590533" y="746748"/>
                </a:cubicBezTo>
                <a:cubicBezTo>
                  <a:pt x="11594219" y="746748"/>
                  <a:pt x="11596957" y="747843"/>
                  <a:pt x="11598745" y="749996"/>
                </a:cubicBezTo>
                <a:cubicBezTo>
                  <a:pt x="11600533" y="752150"/>
                  <a:pt x="11601446" y="755179"/>
                  <a:pt x="11601446" y="759121"/>
                </a:cubicBezTo>
                <a:lnTo>
                  <a:pt x="11601446" y="800072"/>
                </a:lnTo>
                <a:lnTo>
                  <a:pt x="11616921" y="800072"/>
                </a:lnTo>
                <a:lnTo>
                  <a:pt x="11616921" y="759121"/>
                </a:lnTo>
                <a:cubicBezTo>
                  <a:pt x="11616921" y="755508"/>
                  <a:pt x="11616447" y="752223"/>
                  <a:pt x="11615498" y="749230"/>
                </a:cubicBezTo>
                <a:cubicBezTo>
                  <a:pt x="11614585" y="746237"/>
                  <a:pt x="11613198" y="743682"/>
                  <a:pt x="11611373" y="741529"/>
                </a:cubicBezTo>
                <a:cubicBezTo>
                  <a:pt x="11609585" y="739375"/>
                  <a:pt x="11607286" y="737733"/>
                  <a:pt x="11604585" y="736528"/>
                </a:cubicBezTo>
                <a:cubicBezTo>
                  <a:pt x="11601884" y="735324"/>
                  <a:pt x="11598745" y="734740"/>
                  <a:pt x="11595241" y="734740"/>
                </a:cubicBezTo>
                <a:cubicBezTo>
                  <a:pt x="11591190" y="734740"/>
                  <a:pt x="11587649" y="735470"/>
                  <a:pt x="11584657" y="736930"/>
                </a:cubicBezTo>
                <a:cubicBezTo>
                  <a:pt x="11581627" y="738390"/>
                  <a:pt x="11578890" y="740288"/>
                  <a:pt x="11576371" y="742624"/>
                </a:cubicBezTo>
                <a:lnTo>
                  <a:pt x="11576371" y="706855"/>
                </a:lnTo>
                <a:close/>
                <a:moveTo>
                  <a:pt x="11321539" y="434247"/>
                </a:moveTo>
                <a:lnTo>
                  <a:pt x="11348438" y="434247"/>
                </a:lnTo>
                <a:lnTo>
                  <a:pt x="11348438" y="438846"/>
                </a:lnTo>
                <a:cubicBezTo>
                  <a:pt x="11348438" y="462825"/>
                  <a:pt x="11343548" y="481513"/>
                  <a:pt x="11333730" y="494871"/>
                </a:cubicBezTo>
                <a:cubicBezTo>
                  <a:pt x="11323911" y="508230"/>
                  <a:pt x="11310115" y="514909"/>
                  <a:pt x="11292340" y="514909"/>
                </a:cubicBezTo>
                <a:cubicBezTo>
                  <a:pt x="11280515" y="514909"/>
                  <a:pt x="11271171" y="511478"/>
                  <a:pt x="11264273" y="504616"/>
                </a:cubicBezTo>
                <a:cubicBezTo>
                  <a:pt x="11257375" y="497718"/>
                  <a:pt x="11253907" y="488484"/>
                  <a:pt x="11253907" y="476877"/>
                </a:cubicBezTo>
                <a:cubicBezTo>
                  <a:pt x="11253907" y="461292"/>
                  <a:pt x="11258907" y="450306"/>
                  <a:pt x="11268872" y="443883"/>
                </a:cubicBezTo>
                <a:cubicBezTo>
                  <a:pt x="11278836" y="437459"/>
                  <a:pt x="11296391" y="434247"/>
                  <a:pt x="11321539" y="434247"/>
                </a:cubicBezTo>
                <a:close/>
                <a:moveTo>
                  <a:pt x="11301684" y="291866"/>
                </a:moveTo>
                <a:cubicBezTo>
                  <a:pt x="11284566" y="291866"/>
                  <a:pt x="11268361" y="293289"/>
                  <a:pt x="11253068" y="296209"/>
                </a:cubicBezTo>
                <a:cubicBezTo>
                  <a:pt x="11237775" y="299129"/>
                  <a:pt x="11222701" y="303619"/>
                  <a:pt x="11207882" y="309750"/>
                </a:cubicBezTo>
                <a:lnTo>
                  <a:pt x="11207882" y="367053"/>
                </a:lnTo>
                <a:cubicBezTo>
                  <a:pt x="11224270" y="358147"/>
                  <a:pt x="11239965" y="351651"/>
                  <a:pt x="11255039" y="347599"/>
                </a:cubicBezTo>
                <a:cubicBezTo>
                  <a:pt x="11270113" y="343548"/>
                  <a:pt x="11285661" y="341504"/>
                  <a:pt x="11301720" y="341504"/>
                </a:cubicBezTo>
                <a:cubicBezTo>
                  <a:pt x="11317050" y="341504"/>
                  <a:pt x="11328693" y="344314"/>
                  <a:pt x="11336576" y="349899"/>
                </a:cubicBezTo>
                <a:cubicBezTo>
                  <a:pt x="11344497" y="355483"/>
                  <a:pt x="11348438" y="363695"/>
                  <a:pt x="11348438" y="374572"/>
                </a:cubicBezTo>
                <a:lnTo>
                  <a:pt x="11348438" y="385667"/>
                </a:lnTo>
                <a:lnTo>
                  <a:pt x="11301757" y="385667"/>
                </a:lnTo>
                <a:cubicBezTo>
                  <a:pt x="11261061" y="385667"/>
                  <a:pt x="11230986" y="392785"/>
                  <a:pt x="11211532" y="407128"/>
                </a:cubicBezTo>
                <a:cubicBezTo>
                  <a:pt x="11192079" y="421472"/>
                  <a:pt x="11182370" y="443627"/>
                  <a:pt x="11182370" y="473629"/>
                </a:cubicBezTo>
                <a:cubicBezTo>
                  <a:pt x="11182370" y="501368"/>
                  <a:pt x="11190509" y="522975"/>
                  <a:pt x="11206824" y="538414"/>
                </a:cubicBezTo>
                <a:cubicBezTo>
                  <a:pt x="11223139" y="553853"/>
                  <a:pt x="11245914" y="561590"/>
                  <a:pt x="11275149" y="561590"/>
                </a:cubicBezTo>
                <a:cubicBezTo>
                  <a:pt x="11290479" y="561590"/>
                  <a:pt x="11304494" y="558525"/>
                  <a:pt x="11317196" y="552393"/>
                </a:cubicBezTo>
                <a:cubicBezTo>
                  <a:pt x="11329897" y="546261"/>
                  <a:pt x="11340336" y="537538"/>
                  <a:pt x="11348438" y="526187"/>
                </a:cubicBezTo>
                <a:lnTo>
                  <a:pt x="11348438" y="555021"/>
                </a:lnTo>
                <a:lnTo>
                  <a:pt x="11415231" y="555021"/>
                </a:lnTo>
                <a:lnTo>
                  <a:pt x="11415231" y="408223"/>
                </a:lnTo>
                <a:cubicBezTo>
                  <a:pt x="11415231" y="364571"/>
                  <a:pt x="11406763" y="334277"/>
                  <a:pt x="11389791" y="317306"/>
                </a:cubicBezTo>
                <a:cubicBezTo>
                  <a:pt x="11372856" y="300334"/>
                  <a:pt x="11343475" y="291866"/>
                  <a:pt x="11301684" y="291866"/>
                </a:cubicBezTo>
                <a:close/>
                <a:moveTo>
                  <a:pt x="11492899" y="225110"/>
                </a:moveTo>
                <a:lnTo>
                  <a:pt x="11492899" y="298107"/>
                </a:lnTo>
                <a:lnTo>
                  <a:pt x="11427202" y="298107"/>
                </a:lnTo>
                <a:lnTo>
                  <a:pt x="11427202" y="349935"/>
                </a:lnTo>
                <a:lnTo>
                  <a:pt x="11492899" y="349935"/>
                </a:lnTo>
                <a:lnTo>
                  <a:pt x="11492899" y="467971"/>
                </a:lnTo>
                <a:cubicBezTo>
                  <a:pt x="11492899" y="501368"/>
                  <a:pt x="11499688" y="524216"/>
                  <a:pt x="11513302" y="536552"/>
                </a:cubicBezTo>
                <a:cubicBezTo>
                  <a:pt x="11526916" y="548889"/>
                  <a:pt x="11552976" y="555057"/>
                  <a:pt x="11591518" y="555057"/>
                </a:cubicBezTo>
                <a:lnTo>
                  <a:pt x="11648018" y="555057"/>
                </a:lnTo>
                <a:lnTo>
                  <a:pt x="11648018" y="503229"/>
                </a:lnTo>
                <a:lnTo>
                  <a:pt x="11596336" y="503229"/>
                </a:lnTo>
                <a:cubicBezTo>
                  <a:pt x="11583306" y="503229"/>
                  <a:pt x="11573999" y="500747"/>
                  <a:pt x="11568415" y="495783"/>
                </a:cubicBezTo>
                <a:cubicBezTo>
                  <a:pt x="11562831" y="490820"/>
                  <a:pt x="11560020" y="482607"/>
                  <a:pt x="11560020" y="471183"/>
                </a:cubicBezTo>
                <a:lnTo>
                  <a:pt x="11560020" y="349935"/>
                </a:lnTo>
                <a:lnTo>
                  <a:pt x="11647982" y="349935"/>
                </a:lnTo>
                <a:lnTo>
                  <a:pt x="11647982" y="298107"/>
                </a:lnTo>
                <a:lnTo>
                  <a:pt x="11560020" y="298107"/>
                </a:lnTo>
                <a:lnTo>
                  <a:pt x="11560020" y="225110"/>
                </a:lnTo>
                <a:close/>
                <a:moveTo>
                  <a:pt x="11773427" y="198101"/>
                </a:moveTo>
                <a:lnTo>
                  <a:pt x="11773427" y="241534"/>
                </a:lnTo>
                <a:lnTo>
                  <a:pt x="11828905" y="241534"/>
                </a:lnTo>
                <a:lnTo>
                  <a:pt x="11828905" y="573671"/>
                </a:lnTo>
                <a:lnTo>
                  <a:pt x="11773427" y="573671"/>
                </a:lnTo>
                <a:lnTo>
                  <a:pt x="11773427" y="617105"/>
                </a:lnTo>
                <a:lnTo>
                  <a:pt x="11889857" y="617105"/>
                </a:lnTo>
                <a:lnTo>
                  <a:pt x="11889857" y="198101"/>
                </a:lnTo>
                <a:close/>
                <a:moveTo>
                  <a:pt x="10990132" y="197736"/>
                </a:moveTo>
                <a:lnTo>
                  <a:pt x="10990132" y="617105"/>
                </a:lnTo>
                <a:lnTo>
                  <a:pt x="11106635" y="617105"/>
                </a:lnTo>
                <a:lnTo>
                  <a:pt x="11106635" y="573671"/>
                </a:lnTo>
                <a:lnTo>
                  <a:pt x="11051085" y="573671"/>
                </a:lnTo>
                <a:lnTo>
                  <a:pt x="11051085" y="241169"/>
                </a:lnTo>
                <a:lnTo>
                  <a:pt x="11106635" y="241169"/>
                </a:lnTo>
                <a:lnTo>
                  <a:pt x="11106635" y="19773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3780000">
            <a:noAutofit/>
          </a:bodyPr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Place Date">
            <a:extLst>
              <a:ext uri="{FF2B5EF4-FFF2-40B4-BE49-F238E27FC236}">
                <a16:creationId xmlns:a16="http://schemas.microsoft.com/office/drawing/2014/main" id="{D0B2B0F4-C35F-4D04-93FC-4247B16C00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5997600"/>
            <a:ext cx="3121025" cy="360000"/>
          </a:xfrm>
        </p:spPr>
        <p:txBody>
          <a:bodyPr lIns="270000" tIns="36000" rIns="108000" bIns="36000" anchor="ctr"/>
          <a:lstStyle>
            <a:lvl1pPr>
              <a:buNone/>
              <a:defRPr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/>
              <a:t>Date, YYYY/MM/DD</a:t>
            </a:r>
          </a:p>
        </p:txBody>
      </p:sp>
      <p:sp>
        <p:nvSpPr>
          <p:cNvPr id="10" name="Speaker">
            <a:extLst>
              <a:ext uri="{FF2B5EF4-FFF2-40B4-BE49-F238E27FC236}">
                <a16:creationId xmlns:a16="http://schemas.microsoft.com/office/drawing/2014/main" id="{DEDBF81E-0BA0-42B9-970D-41B65E5839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951099" y="5213821"/>
            <a:ext cx="1240901" cy="353805"/>
          </a:xfrm>
          <a:solidFill>
            <a:schemeClr val="accent2"/>
          </a:solidFill>
        </p:spPr>
        <p:txBody>
          <a:bodyPr wrap="none" lIns="108000" tIns="36000" rIns="270000" bIns="36000">
            <a:spAutoFit/>
          </a:bodyPr>
          <a:lstStyle>
            <a:lvl1pPr algn="r">
              <a:buNone/>
              <a:defRPr sz="1800">
                <a:solidFill>
                  <a:schemeClr val="bg1"/>
                </a:solidFill>
              </a:defRPr>
            </a:lvl1pPr>
            <a:lvl2pPr>
              <a:buNone/>
              <a:defRPr sz="2400">
                <a:solidFill>
                  <a:schemeClr val="bg1"/>
                </a:solidFill>
              </a:defRPr>
            </a:lvl2pPr>
            <a:lvl3pPr>
              <a:buNone/>
              <a:defRPr sz="2400">
                <a:solidFill>
                  <a:schemeClr val="bg1"/>
                </a:solidFill>
              </a:defRPr>
            </a:lvl3pPr>
            <a:lvl4pPr>
              <a:buNone/>
              <a:defRPr sz="2400">
                <a:solidFill>
                  <a:schemeClr val="bg1"/>
                </a:solidFill>
              </a:defRPr>
            </a:lvl4pPr>
            <a:lvl5pPr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Speaker</a:t>
            </a:r>
          </a:p>
        </p:txBody>
      </p:sp>
      <p:sp>
        <p:nvSpPr>
          <p:cNvPr id="9" name="Customers name">
            <a:extLst>
              <a:ext uri="{FF2B5EF4-FFF2-40B4-BE49-F238E27FC236}">
                <a16:creationId xmlns:a16="http://schemas.microsoft.com/office/drawing/2014/main" id="{7A0D7D4B-B886-48B0-B26D-08C980F7FE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96186" y="4694400"/>
            <a:ext cx="2795814" cy="447421"/>
          </a:xfrm>
          <a:solidFill>
            <a:schemeClr val="accent2"/>
          </a:solidFill>
        </p:spPr>
        <p:txBody>
          <a:bodyPr wrap="none" lIns="108000" tIns="36000" rIns="270000" bIns="36000">
            <a:spAutoFit/>
          </a:bodyPr>
          <a:lstStyle>
            <a:lvl1pPr algn="r">
              <a:buNone/>
              <a:defRPr sz="2400">
                <a:solidFill>
                  <a:schemeClr val="bg1"/>
                </a:solidFill>
              </a:defRPr>
            </a:lvl1pPr>
            <a:lvl2pPr>
              <a:buNone/>
              <a:defRPr sz="2400">
                <a:solidFill>
                  <a:schemeClr val="bg1"/>
                </a:solidFill>
              </a:defRPr>
            </a:lvl2pPr>
            <a:lvl3pPr>
              <a:buNone/>
              <a:defRPr sz="2400">
                <a:solidFill>
                  <a:schemeClr val="bg1"/>
                </a:solidFill>
              </a:defRPr>
            </a:lvl3pPr>
            <a:lvl4pPr>
              <a:buNone/>
              <a:defRPr sz="2400">
                <a:solidFill>
                  <a:schemeClr val="bg1"/>
                </a:solidFill>
              </a:defRPr>
            </a:lvl4pPr>
            <a:lvl5pPr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err="1"/>
              <a:t>Customer‘s</a:t>
            </a:r>
            <a:r>
              <a:rPr lang="de-DE"/>
              <a:t> </a:t>
            </a:r>
            <a:r>
              <a:rPr lang="de-DE" err="1"/>
              <a:t>name</a:t>
            </a:r>
            <a:endParaRPr lang="de-DE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598A73E4-AE9E-4D3F-8366-8B3345DD64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738800"/>
            <a:ext cx="6126854" cy="571301"/>
          </a:xfrm>
        </p:spPr>
        <p:txBody>
          <a:bodyPr lIns="270000" tIns="36000" rIns="108000" bIns="36000" anchor="b">
            <a:spAutoFit/>
          </a:bodyPr>
          <a:lstStyle>
            <a:lvl1pPr algn="l">
              <a:defRPr sz="3600" b="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4B7C34D4-F53E-4F5B-A250-D6684A2A60B6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10.10.2023</a:t>
            </a:fld>
            <a:endParaRPr lang="de-DE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F99CE203-DED9-409F-B33D-E89207D40C19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2"/>
            </p:custDataLst>
          </p:nvPr>
        </p:nvSpPr>
        <p:spPr/>
        <p:txBody>
          <a:bodyPr/>
          <a:lstStyle/>
          <a:p>
            <a:endParaRPr lang="de-DE">
              <a:noFill/>
            </a:endParaRP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1A96434E-4BE6-4AE3-A64D-963E6AF76F0D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42A0C3C-A441-4C3F-B9F1-793D433CF6FE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109893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G Orange rechts">
            <a:extLst>
              <a:ext uri="{FF2B5EF4-FFF2-40B4-BE49-F238E27FC236}">
                <a16:creationId xmlns:a16="http://schemas.microsoft.com/office/drawing/2014/main" id="{433EA2F6-21FC-4FB8-8BDB-E6EF8F0DE23F}"/>
              </a:ext>
            </a:extLst>
          </p:cNvPr>
          <p:cNvSpPr/>
          <p:nvPr userDrawn="1"/>
        </p:nvSpPr>
        <p:spPr>
          <a:xfrm>
            <a:off x="11728765" y="147089"/>
            <a:ext cx="210084" cy="5198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110000"/>
              </a:lnSpc>
              <a:spcAft>
                <a:spcPts val="200"/>
              </a:spcAft>
            </a:pPr>
            <a:endParaRPr lang="de-DE" sz="1400"/>
          </a:p>
        </p:txBody>
      </p:sp>
      <p:sp>
        <p:nvSpPr>
          <p:cNvPr id="15" name="HG Orange links">
            <a:extLst>
              <a:ext uri="{FF2B5EF4-FFF2-40B4-BE49-F238E27FC236}">
                <a16:creationId xmlns:a16="http://schemas.microsoft.com/office/drawing/2014/main" id="{B30ECB80-63CC-4980-87D6-379EA04473F5}"/>
              </a:ext>
            </a:extLst>
          </p:cNvPr>
          <p:cNvSpPr/>
          <p:nvPr userDrawn="1"/>
        </p:nvSpPr>
        <p:spPr>
          <a:xfrm>
            <a:off x="10927533" y="147089"/>
            <a:ext cx="210084" cy="5198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110000"/>
              </a:lnSpc>
              <a:spcAft>
                <a:spcPts val="200"/>
              </a:spcAft>
            </a:pPr>
            <a:endParaRPr lang="de-DE" sz="1400"/>
          </a:p>
        </p:txBody>
      </p:sp>
      <p:sp>
        <p:nvSpPr>
          <p:cNvPr id="13" name="Bildplatzhalter">
            <a:extLst>
              <a:ext uri="{FF2B5EF4-FFF2-40B4-BE49-F238E27FC236}">
                <a16:creationId xmlns:a16="http://schemas.microsoft.com/office/drawing/2014/main" id="{94C08070-12A7-42AD-9CE9-B7C3E2993E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665610 w 12192000"/>
              <a:gd name="connsiteY0" fmla="*/ 772625 h 6858000"/>
              <a:gd name="connsiteX1" fmla="*/ 11665610 w 12192000"/>
              <a:gd name="connsiteY1" fmla="*/ 783465 h 6858000"/>
              <a:gd name="connsiteX2" fmla="*/ 11658822 w 12192000"/>
              <a:gd name="connsiteY2" fmla="*/ 788721 h 6858000"/>
              <a:gd name="connsiteX3" fmla="*/ 11650573 w 12192000"/>
              <a:gd name="connsiteY3" fmla="*/ 790436 h 6858000"/>
              <a:gd name="connsiteX4" fmla="*/ 11644259 w 12192000"/>
              <a:gd name="connsiteY4" fmla="*/ 788684 h 6858000"/>
              <a:gd name="connsiteX5" fmla="*/ 11641850 w 12192000"/>
              <a:gd name="connsiteY5" fmla="*/ 782845 h 6858000"/>
              <a:gd name="connsiteX6" fmla="*/ 11643054 w 12192000"/>
              <a:gd name="connsiteY6" fmla="*/ 779012 h 6858000"/>
              <a:gd name="connsiteX7" fmla="*/ 11646996 w 12192000"/>
              <a:gd name="connsiteY7" fmla="*/ 775946 h 6858000"/>
              <a:gd name="connsiteX8" fmla="*/ 11654332 w 12192000"/>
              <a:gd name="connsiteY8" fmla="*/ 773793 h 6858000"/>
              <a:gd name="connsiteX9" fmla="*/ 11665610 w 12192000"/>
              <a:gd name="connsiteY9" fmla="*/ 772625 h 6858000"/>
              <a:gd name="connsiteX10" fmla="*/ 11244271 w 12192000"/>
              <a:gd name="connsiteY10" fmla="*/ 769924 h 6858000"/>
              <a:gd name="connsiteX11" fmla="*/ 11244308 w 12192000"/>
              <a:gd name="connsiteY11" fmla="*/ 769924 h 6858000"/>
              <a:gd name="connsiteX12" fmla="*/ 11244308 w 12192000"/>
              <a:gd name="connsiteY12" fmla="*/ 786276 h 6858000"/>
              <a:gd name="connsiteX13" fmla="*/ 11239855 w 12192000"/>
              <a:gd name="connsiteY13" fmla="*/ 790473 h 6858000"/>
              <a:gd name="connsiteX14" fmla="*/ 11235001 w 12192000"/>
              <a:gd name="connsiteY14" fmla="*/ 793831 h 6858000"/>
              <a:gd name="connsiteX15" fmla="*/ 11229344 w 12192000"/>
              <a:gd name="connsiteY15" fmla="*/ 796021 h 6858000"/>
              <a:gd name="connsiteX16" fmla="*/ 11222664 w 12192000"/>
              <a:gd name="connsiteY16" fmla="*/ 796787 h 6858000"/>
              <a:gd name="connsiteX17" fmla="*/ 11217956 w 12192000"/>
              <a:gd name="connsiteY17" fmla="*/ 796094 h 6858000"/>
              <a:gd name="connsiteX18" fmla="*/ 11213978 w 12192000"/>
              <a:gd name="connsiteY18" fmla="*/ 793940 h 6858000"/>
              <a:gd name="connsiteX19" fmla="*/ 11211204 w 12192000"/>
              <a:gd name="connsiteY19" fmla="*/ 790181 h 6858000"/>
              <a:gd name="connsiteX20" fmla="*/ 11210182 w 12192000"/>
              <a:gd name="connsiteY20" fmla="*/ 784743 h 6858000"/>
              <a:gd name="connsiteX21" fmla="*/ 11212189 w 12192000"/>
              <a:gd name="connsiteY21" fmla="*/ 778830 h 6858000"/>
              <a:gd name="connsiteX22" fmla="*/ 11218357 w 12192000"/>
              <a:gd name="connsiteY22" fmla="*/ 774341 h 6858000"/>
              <a:gd name="connsiteX23" fmla="*/ 11228942 w 12192000"/>
              <a:gd name="connsiteY23" fmla="*/ 771348 h 6858000"/>
              <a:gd name="connsiteX24" fmla="*/ 11244271 w 12192000"/>
              <a:gd name="connsiteY24" fmla="*/ 769924 h 6858000"/>
              <a:gd name="connsiteX25" fmla="*/ 11032215 w 12192000"/>
              <a:gd name="connsiteY25" fmla="*/ 769924 h 6858000"/>
              <a:gd name="connsiteX26" fmla="*/ 11032251 w 12192000"/>
              <a:gd name="connsiteY26" fmla="*/ 769924 h 6858000"/>
              <a:gd name="connsiteX27" fmla="*/ 11032251 w 12192000"/>
              <a:gd name="connsiteY27" fmla="*/ 786276 h 6858000"/>
              <a:gd name="connsiteX28" fmla="*/ 11027799 w 12192000"/>
              <a:gd name="connsiteY28" fmla="*/ 790473 h 6858000"/>
              <a:gd name="connsiteX29" fmla="*/ 11022944 w 12192000"/>
              <a:gd name="connsiteY29" fmla="*/ 793831 h 6858000"/>
              <a:gd name="connsiteX30" fmla="*/ 11017287 w 12192000"/>
              <a:gd name="connsiteY30" fmla="*/ 796021 h 6858000"/>
              <a:gd name="connsiteX31" fmla="*/ 11010608 w 12192000"/>
              <a:gd name="connsiteY31" fmla="*/ 796787 h 6858000"/>
              <a:gd name="connsiteX32" fmla="*/ 11005899 w 12192000"/>
              <a:gd name="connsiteY32" fmla="*/ 796094 h 6858000"/>
              <a:gd name="connsiteX33" fmla="*/ 11001921 w 12192000"/>
              <a:gd name="connsiteY33" fmla="*/ 793940 h 6858000"/>
              <a:gd name="connsiteX34" fmla="*/ 10999147 w 12192000"/>
              <a:gd name="connsiteY34" fmla="*/ 790181 h 6858000"/>
              <a:gd name="connsiteX35" fmla="*/ 10998125 w 12192000"/>
              <a:gd name="connsiteY35" fmla="*/ 784743 h 6858000"/>
              <a:gd name="connsiteX36" fmla="*/ 11000133 w 12192000"/>
              <a:gd name="connsiteY36" fmla="*/ 778830 h 6858000"/>
              <a:gd name="connsiteX37" fmla="*/ 11006301 w 12192000"/>
              <a:gd name="connsiteY37" fmla="*/ 774341 h 6858000"/>
              <a:gd name="connsiteX38" fmla="*/ 11016886 w 12192000"/>
              <a:gd name="connsiteY38" fmla="*/ 771348 h 6858000"/>
              <a:gd name="connsiteX39" fmla="*/ 11032215 w 12192000"/>
              <a:gd name="connsiteY39" fmla="*/ 769924 h 6858000"/>
              <a:gd name="connsiteX40" fmla="*/ 11363804 w 12192000"/>
              <a:gd name="connsiteY40" fmla="*/ 741310 h 6858000"/>
              <a:gd name="connsiteX41" fmla="*/ 11373731 w 12192000"/>
              <a:gd name="connsiteY41" fmla="*/ 743500 h 6858000"/>
              <a:gd name="connsiteX42" fmla="*/ 11381652 w 12192000"/>
              <a:gd name="connsiteY42" fmla="*/ 751091 h 6858000"/>
              <a:gd name="connsiteX43" fmla="*/ 11381688 w 12192000"/>
              <a:gd name="connsiteY43" fmla="*/ 751091 h 6858000"/>
              <a:gd name="connsiteX44" fmla="*/ 11381688 w 12192000"/>
              <a:gd name="connsiteY44" fmla="*/ 783904 h 6858000"/>
              <a:gd name="connsiteX45" fmla="*/ 11372710 w 12192000"/>
              <a:gd name="connsiteY45" fmla="*/ 792882 h 6858000"/>
              <a:gd name="connsiteX46" fmla="*/ 11361468 w 12192000"/>
              <a:gd name="connsiteY46" fmla="*/ 796094 h 6858000"/>
              <a:gd name="connsiteX47" fmla="*/ 11346686 w 12192000"/>
              <a:gd name="connsiteY47" fmla="*/ 789524 h 6858000"/>
              <a:gd name="connsiteX48" fmla="*/ 11341576 w 12192000"/>
              <a:gd name="connsiteY48" fmla="*/ 769049 h 6858000"/>
              <a:gd name="connsiteX49" fmla="*/ 11343000 w 12192000"/>
              <a:gd name="connsiteY49" fmla="*/ 757807 h 6858000"/>
              <a:gd name="connsiteX50" fmla="*/ 11347197 w 12192000"/>
              <a:gd name="connsiteY50" fmla="*/ 749011 h 6858000"/>
              <a:gd name="connsiteX51" fmla="*/ 11354132 w 12192000"/>
              <a:gd name="connsiteY51" fmla="*/ 743317 h 6858000"/>
              <a:gd name="connsiteX52" fmla="*/ 11363804 w 12192000"/>
              <a:gd name="connsiteY52" fmla="*/ 741310 h 6858000"/>
              <a:gd name="connsiteX53" fmla="*/ 11432604 w 12192000"/>
              <a:gd name="connsiteY53" fmla="*/ 741126 h 6858000"/>
              <a:gd name="connsiteX54" fmla="*/ 11440415 w 12192000"/>
              <a:gd name="connsiteY54" fmla="*/ 742586 h 6858000"/>
              <a:gd name="connsiteX55" fmla="*/ 11446546 w 12192000"/>
              <a:gd name="connsiteY55" fmla="*/ 746820 h 6858000"/>
              <a:gd name="connsiteX56" fmla="*/ 11450525 w 12192000"/>
              <a:gd name="connsiteY56" fmla="*/ 753572 h 6858000"/>
              <a:gd name="connsiteX57" fmla="*/ 11451948 w 12192000"/>
              <a:gd name="connsiteY57" fmla="*/ 762587 h 6858000"/>
              <a:gd name="connsiteX58" fmla="*/ 11410595 w 12192000"/>
              <a:gd name="connsiteY58" fmla="*/ 762587 h 6858000"/>
              <a:gd name="connsiteX59" fmla="*/ 11412858 w 12192000"/>
              <a:gd name="connsiteY59" fmla="*/ 753755 h 6858000"/>
              <a:gd name="connsiteX60" fmla="*/ 11417347 w 12192000"/>
              <a:gd name="connsiteY60" fmla="*/ 746966 h 6858000"/>
              <a:gd name="connsiteX61" fmla="*/ 11423954 w 12192000"/>
              <a:gd name="connsiteY61" fmla="*/ 742623 h 6858000"/>
              <a:gd name="connsiteX62" fmla="*/ 11432604 w 12192000"/>
              <a:gd name="connsiteY62" fmla="*/ 741126 h 6858000"/>
              <a:gd name="connsiteX63" fmla="*/ 11110139 w 12192000"/>
              <a:gd name="connsiteY63" fmla="*/ 741126 h 6858000"/>
              <a:gd name="connsiteX64" fmla="*/ 11117950 w 12192000"/>
              <a:gd name="connsiteY64" fmla="*/ 742586 h 6858000"/>
              <a:gd name="connsiteX65" fmla="*/ 11124081 w 12192000"/>
              <a:gd name="connsiteY65" fmla="*/ 746820 h 6858000"/>
              <a:gd name="connsiteX66" fmla="*/ 11128060 w 12192000"/>
              <a:gd name="connsiteY66" fmla="*/ 753572 h 6858000"/>
              <a:gd name="connsiteX67" fmla="*/ 11129483 w 12192000"/>
              <a:gd name="connsiteY67" fmla="*/ 762587 h 6858000"/>
              <a:gd name="connsiteX68" fmla="*/ 11088130 w 12192000"/>
              <a:gd name="connsiteY68" fmla="*/ 762587 h 6858000"/>
              <a:gd name="connsiteX69" fmla="*/ 11090393 w 12192000"/>
              <a:gd name="connsiteY69" fmla="*/ 753755 h 6858000"/>
              <a:gd name="connsiteX70" fmla="*/ 11094882 w 12192000"/>
              <a:gd name="connsiteY70" fmla="*/ 746966 h 6858000"/>
              <a:gd name="connsiteX71" fmla="*/ 11101489 w 12192000"/>
              <a:gd name="connsiteY71" fmla="*/ 742623 h 6858000"/>
              <a:gd name="connsiteX72" fmla="*/ 11110139 w 12192000"/>
              <a:gd name="connsiteY72" fmla="*/ 741126 h 6858000"/>
              <a:gd name="connsiteX73" fmla="*/ 11143791 w 12192000"/>
              <a:gd name="connsiteY73" fmla="*/ 737659 h 6858000"/>
              <a:gd name="connsiteX74" fmla="*/ 11165617 w 12192000"/>
              <a:gd name="connsiteY74" fmla="*/ 768135 h 6858000"/>
              <a:gd name="connsiteX75" fmla="*/ 11142915 w 12192000"/>
              <a:gd name="connsiteY75" fmla="*/ 800072 h 6858000"/>
              <a:gd name="connsiteX76" fmla="*/ 11148317 w 12192000"/>
              <a:gd name="connsiteY76" fmla="*/ 800072 h 6858000"/>
              <a:gd name="connsiteX77" fmla="*/ 11149558 w 12192000"/>
              <a:gd name="connsiteY77" fmla="*/ 799561 h 6858000"/>
              <a:gd name="connsiteX78" fmla="*/ 11150470 w 12192000"/>
              <a:gd name="connsiteY78" fmla="*/ 798502 h 6858000"/>
              <a:gd name="connsiteX79" fmla="*/ 11168537 w 12192000"/>
              <a:gd name="connsiteY79" fmla="*/ 773026 h 6858000"/>
              <a:gd name="connsiteX80" fmla="*/ 11169486 w 12192000"/>
              <a:gd name="connsiteY80" fmla="*/ 770836 h 6858000"/>
              <a:gd name="connsiteX81" fmla="*/ 11188429 w 12192000"/>
              <a:gd name="connsiteY81" fmla="*/ 798502 h 6858000"/>
              <a:gd name="connsiteX82" fmla="*/ 11189232 w 12192000"/>
              <a:gd name="connsiteY82" fmla="*/ 799524 h 6858000"/>
              <a:gd name="connsiteX83" fmla="*/ 11190619 w 12192000"/>
              <a:gd name="connsiteY83" fmla="*/ 800072 h 6858000"/>
              <a:gd name="connsiteX84" fmla="*/ 11196312 w 12192000"/>
              <a:gd name="connsiteY84" fmla="*/ 800072 h 6858000"/>
              <a:gd name="connsiteX85" fmla="*/ 11173647 w 12192000"/>
              <a:gd name="connsiteY85" fmla="*/ 767770 h 6858000"/>
              <a:gd name="connsiteX86" fmla="*/ 11195400 w 12192000"/>
              <a:gd name="connsiteY86" fmla="*/ 737659 h 6858000"/>
              <a:gd name="connsiteX87" fmla="*/ 11189925 w 12192000"/>
              <a:gd name="connsiteY87" fmla="*/ 737659 h 6858000"/>
              <a:gd name="connsiteX88" fmla="*/ 11188794 w 12192000"/>
              <a:gd name="connsiteY88" fmla="*/ 738024 h 6858000"/>
              <a:gd name="connsiteX89" fmla="*/ 11187991 w 12192000"/>
              <a:gd name="connsiteY89" fmla="*/ 738973 h 6858000"/>
              <a:gd name="connsiteX90" fmla="*/ 11170873 w 12192000"/>
              <a:gd name="connsiteY90" fmla="*/ 763135 h 6858000"/>
              <a:gd name="connsiteX91" fmla="*/ 11170289 w 12192000"/>
              <a:gd name="connsiteY91" fmla="*/ 764266 h 6858000"/>
              <a:gd name="connsiteX92" fmla="*/ 11169887 w 12192000"/>
              <a:gd name="connsiteY92" fmla="*/ 765325 h 6858000"/>
              <a:gd name="connsiteX93" fmla="*/ 11151565 w 12192000"/>
              <a:gd name="connsiteY93" fmla="*/ 738900 h 6858000"/>
              <a:gd name="connsiteX94" fmla="*/ 11150799 w 12192000"/>
              <a:gd name="connsiteY94" fmla="*/ 738024 h 6858000"/>
              <a:gd name="connsiteX95" fmla="*/ 11149485 w 12192000"/>
              <a:gd name="connsiteY95" fmla="*/ 737659 h 6858000"/>
              <a:gd name="connsiteX96" fmla="*/ 11432494 w 12192000"/>
              <a:gd name="connsiteY96" fmla="*/ 736710 h 6858000"/>
              <a:gd name="connsiteX97" fmla="*/ 11420596 w 12192000"/>
              <a:gd name="connsiteY97" fmla="*/ 739046 h 6858000"/>
              <a:gd name="connsiteX98" fmla="*/ 11411763 w 12192000"/>
              <a:gd name="connsiteY98" fmla="*/ 745470 h 6858000"/>
              <a:gd name="connsiteX99" fmla="*/ 11406252 w 12192000"/>
              <a:gd name="connsiteY99" fmla="*/ 755251 h 6858000"/>
              <a:gd name="connsiteX100" fmla="*/ 11404354 w 12192000"/>
              <a:gd name="connsiteY100" fmla="*/ 767624 h 6858000"/>
              <a:gd name="connsiteX101" fmla="*/ 11406398 w 12192000"/>
              <a:gd name="connsiteY101" fmla="*/ 781786 h 6858000"/>
              <a:gd name="connsiteX102" fmla="*/ 11412201 w 12192000"/>
              <a:gd name="connsiteY102" fmla="*/ 792224 h 6858000"/>
              <a:gd name="connsiteX103" fmla="*/ 11421216 w 12192000"/>
              <a:gd name="connsiteY103" fmla="*/ 798721 h 6858000"/>
              <a:gd name="connsiteX104" fmla="*/ 11432896 w 12192000"/>
              <a:gd name="connsiteY104" fmla="*/ 800947 h 6858000"/>
              <a:gd name="connsiteX105" fmla="*/ 11439904 w 12192000"/>
              <a:gd name="connsiteY105" fmla="*/ 800254 h 6858000"/>
              <a:gd name="connsiteX106" fmla="*/ 11446437 w 12192000"/>
              <a:gd name="connsiteY106" fmla="*/ 798393 h 6858000"/>
              <a:gd name="connsiteX107" fmla="*/ 11451948 w 12192000"/>
              <a:gd name="connsiteY107" fmla="*/ 795619 h 6858000"/>
              <a:gd name="connsiteX108" fmla="*/ 11455926 w 12192000"/>
              <a:gd name="connsiteY108" fmla="*/ 792115 h 6858000"/>
              <a:gd name="connsiteX109" fmla="*/ 11454284 w 12192000"/>
              <a:gd name="connsiteY109" fmla="*/ 790107 h 6858000"/>
              <a:gd name="connsiteX110" fmla="*/ 11453043 w 12192000"/>
              <a:gd name="connsiteY110" fmla="*/ 789487 h 6858000"/>
              <a:gd name="connsiteX111" fmla="*/ 11451036 w 12192000"/>
              <a:gd name="connsiteY111" fmla="*/ 790509 h 6858000"/>
              <a:gd name="connsiteX112" fmla="*/ 11447313 w 12192000"/>
              <a:gd name="connsiteY112" fmla="*/ 792845 h 6858000"/>
              <a:gd name="connsiteX113" fmla="*/ 11441510 w 12192000"/>
              <a:gd name="connsiteY113" fmla="*/ 795181 h 6858000"/>
              <a:gd name="connsiteX114" fmla="*/ 11433370 w 12192000"/>
              <a:gd name="connsiteY114" fmla="*/ 796203 h 6858000"/>
              <a:gd name="connsiteX115" fmla="*/ 11423844 w 12192000"/>
              <a:gd name="connsiteY115" fmla="*/ 794378 h 6858000"/>
              <a:gd name="connsiteX116" fmla="*/ 11416581 w 12192000"/>
              <a:gd name="connsiteY116" fmla="*/ 788939 h 6858000"/>
              <a:gd name="connsiteX117" fmla="*/ 11411946 w 12192000"/>
              <a:gd name="connsiteY117" fmla="*/ 779997 h 6858000"/>
              <a:gd name="connsiteX118" fmla="*/ 11410303 w 12192000"/>
              <a:gd name="connsiteY118" fmla="*/ 767624 h 6858000"/>
              <a:gd name="connsiteX119" fmla="*/ 11410303 w 12192000"/>
              <a:gd name="connsiteY119" fmla="*/ 766493 h 6858000"/>
              <a:gd name="connsiteX120" fmla="*/ 11455671 w 12192000"/>
              <a:gd name="connsiteY120" fmla="*/ 766493 h 6858000"/>
              <a:gd name="connsiteX121" fmla="*/ 11456912 w 12192000"/>
              <a:gd name="connsiteY121" fmla="*/ 765982 h 6858000"/>
              <a:gd name="connsiteX122" fmla="*/ 11457277 w 12192000"/>
              <a:gd name="connsiteY122" fmla="*/ 764084 h 6858000"/>
              <a:gd name="connsiteX123" fmla="*/ 11455379 w 12192000"/>
              <a:gd name="connsiteY123" fmla="*/ 752404 h 6858000"/>
              <a:gd name="connsiteX124" fmla="*/ 11450123 w 12192000"/>
              <a:gd name="connsiteY124" fmla="*/ 743827 h 6858000"/>
              <a:gd name="connsiteX125" fmla="*/ 11442276 w 12192000"/>
              <a:gd name="connsiteY125" fmla="*/ 738535 h 6858000"/>
              <a:gd name="connsiteX126" fmla="*/ 11432494 w 12192000"/>
              <a:gd name="connsiteY126" fmla="*/ 736710 h 6858000"/>
              <a:gd name="connsiteX127" fmla="*/ 11110029 w 12192000"/>
              <a:gd name="connsiteY127" fmla="*/ 736710 h 6858000"/>
              <a:gd name="connsiteX128" fmla="*/ 11098131 w 12192000"/>
              <a:gd name="connsiteY128" fmla="*/ 739046 h 6858000"/>
              <a:gd name="connsiteX129" fmla="*/ 11089298 w 12192000"/>
              <a:gd name="connsiteY129" fmla="*/ 745470 h 6858000"/>
              <a:gd name="connsiteX130" fmla="*/ 11083787 w 12192000"/>
              <a:gd name="connsiteY130" fmla="*/ 755251 h 6858000"/>
              <a:gd name="connsiteX131" fmla="*/ 11081889 w 12192000"/>
              <a:gd name="connsiteY131" fmla="*/ 767624 h 6858000"/>
              <a:gd name="connsiteX132" fmla="*/ 11083933 w 12192000"/>
              <a:gd name="connsiteY132" fmla="*/ 781786 h 6858000"/>
              <a:gd name="connsiteX133" fmla="*/ 11089736 w 12192000"/>
              <a:gd name="connsiteY133" fmla="*/ 792224 h 6858000"/>
              <a:gd name="connsiteX134" fmla="*/ 11098751 w 12192000"/>
              <a:gd name="connsiteY134" fmla="*/ 798721 h 6858000"/>
              <a:gd name="connsiteX135" fmla="*/ 11110431 w 12192000"/>
              <a:gd name="connsiteY135" fmla="*/ 800947 h 6858000"/>
              <a:gd name="connsiteX136" fmla="*/ 11117439 w 12192000"/>
              <a:gd name="connsiteY136" fmla="*/ 800254 h 6858000"/>
              <a:gd name="connsiteX137" fmla="*/ 11123972 w 12192000"/>
              <a:gd name="connsiteY137" fmla="*/ 798393 h 6858000"/>
              <a:gd name="connsiteX138" fmla="*/ 11129483 w 12192000"/>
              <a:gd name="connsiteY138" fmla="*/ 795619 h 6858000"/>
              <a:gd name="connsiteX139" fmla="*/ 11133461 w 12192000"/>
              <a:gd name="connsiteY139" fmla="*/ 792115 h 6858000"/>
              <a:gd name="connsiteX140" fmla="*/ 11131819 w 12192000"/>
              <a:gd name="connsiteY140" fmla="*/ 790107 h 6858000"/>
              <a:gd name="connsiteX141" fmla="*/ 11130578 w 12192000"/>
              <a:gd name="connsiteY141" fmla="*/ 789487 h 6858000"/>
              <a:gd name="connsiteX142" fmla="*/ 11128571 w 12192000"/>
              <a:gd name="connsiteY142" fmla="*/ 790509 h 6858000"/>
              <a:gd name="connsiteX143" fmla="*/ 11124848 w 12192000"/>
              <a:gd name="connsiteY143" fmla="*/ 792845 h 6858000"/>
              <a:gd name="connsiteX144" fmla="*/ 11119045 w 12192000"/>
              <a:gd name="connsiteY144" fmla="*/ 795181 h 6858000"/>
              <a:gd name="connsiteX145" fmla="*/ 11110905 w 12192000"/>
              <a:gd name="connsiteY145" fmla="*/ 796203 h 6858000"/>
              <a:gd name="connsiteX146" fmla="*/ 11101379 w 12192000"/>
              <a:gd name="connsiteY146" fmla="*/ 794378 h 6858000"/>
              <a:gd name="connsiteX147" fmla="*/ 11094116 w 12192000"/>
              <a:gd name="connsiteY147" fmla="*/ 788939 h 6858000"/>
              <a:gd name="connsiteX148" fmla="*/ 11089481 w 12192000"/>
              <a:gd name="connsiteY148" fmla="*/ 779997 h 6858000"/>
              <a:gd name="connsiteX149" fmla="*/ 11087838 w 12192000"/>
              <a:gd name="connsiteY149" fmla="*/ 767624 h 6858000"/>
              <a:gd name="connsiteX150" fmla="*/ 11087838 w 12192000"/>
              <a:gd name="connsiteY150" fmla="*/ 766493 h 6858000"/>
              <a:gd name="connsiteX151" fmla="*/ 11133206 w 12192000"/>
              <a:gd name="connsiteY151" fmla="*/ 766493 h 6858000"/>
              <a:gd name="connsiteX152" fmla="*/ 11134447 w 12192000"/>
              <a:gd name="connsiteY152" fmla="*/ 765982 h 6858000"/>
              <a:gd name="connsiteX153" fmla="*/ 11134812 w 12192000"/>
              <a:gd name="connsiteY153" fmla="*/ 764084 h 6858000"/>
              <a:gd name="connsiteX154" fmla="*/ 11132914 w 12192000"/>
              <a:gd name="connsiteY154" fmla="*/ 752404 h 6858000"/>
              <a:gd name="connsiteX155" fmla="*/ 11127658 w 12192000"/>
              <a:gd name="connsiteY155" fmla="*/ 743827 h 6858000"/>
              <a:gd name="connsiteX156" fmla="*/ 11119811 w 12192000"/>
              <a:gd name="connsiteY156" fmla="*/ 738535 h 6858000"/>
              <a:gd name="connsiteX157" fmla="*/ 11110029 w 12192000"/>
              <a:gd name="connsiteY157" fmla="*/ 736710 h 6858000"/>
              <a:gd name="connsiteX158" fmla="*/ 11298399 w 12192000"/>
              <a:gd name="connsiteY158" fmla="*/ 736674 h 6858000"/>
              <a:gd name="connsiteX159" fmla="*/ 11285770 w 12192000"/>
              <a:gd name="connsiteY159" fmla="*/ 739922 h 6858000"/>
              <a:gd name="connsiteX160" fmla="*/ 11275770 w 12192000"/>
              <a:gd name="connsiteY160" fmla="*/ 748573 h 6858000"/>
              <a:gd name="connsiteX161" fmla="*/ 11275222 w 12192000"/>
              <a:gd name="connsiteY161" fmla="*/ 739265 h 6858000"/>
              <a:gd name="connsiteX162" fmla="*/ 11273397 w 12192000"/>
              <a:gd name="connsiteY162" fmla="*/ 737696 h 6858000"/>
              <a:gd name="connsiteX163" fmla="*/ 11270076 w 12192000"/>
              <a:gd name="connsiteY163" fmla="*/ 737696 h 6858000"/>
              <a:gd name="connsiteX164" fmla="*/ 11270076 w 12192000"/>
              <a:gd name="connsiteY164" fmla="*/ 800109 h 6858000"/>
              <a:gd name="connsiteX165" fmla="*/ 11276062 w 12192000"/>
              <a:gd name="connsiteY165" fmla="*/ 800109 h 6858000"/>
              <a:gd name="connsiteX166" fmla="*/ 11276062 w 12192000"/>
              <a:gd name="connsiteY166" fmla="*/ 753171 h 6858000"/>
              <a:gd name="connsiteX167" fmla="*/ 11285515 w 12192000"/>
              <a:gd name="connsiteY167" fmla="*/ 744558 h 6858000"/>
              <a:gd name="connsiteX168" fmla="*/ 11296902 w 12192000"/>
              <a:gd name="connsiteY168" fmla="*/ 741455 h 6858000"/>
              <a:gd name="connsiteX169" fmla="*/ 11309129 w 12192000"/>
              <a:gd name="connsiteY169" fmla="*/ 746456 h 6858000"/>
              <a:gd name="connsiteX170" fmla="*/ 11313144 w 12192000"/>
              <a:gd name="connsiteY170" fmla="*/ 760216 h 6858000"/>
              <a:gd name="connsiteX171" fmla="*/ 11313144 w 12192000"/>
              <a:gd name="connsiteY171" fmla="*/ 800109 h 6858000"/>
              <a:gd name="connsiteX172" fmla="*/ 11319167 w 12192000"/>
              <a:gd name="connsiteY172" fmla="*/ 800109 h 6858000"/>
              <a:gd name="connsiteX173" fmla="*/ 11319167 w 12192000"/>
              <a:gd name="connsiteY173" fmla="*/ 760216 h 6858000"/>
              <a:gd name="connsiteX174" fmla="*/ 11317853 w 12192000"/>
              <a:gd name="connsiteY174" fmla="*/ 750434 h 6858000"/>
              <a:gd name="connsiteX175" fmla="*/ 11313947 w 12192000"/>
              <a:gd name="connsiteY175" fmla="*/ 743025 h 6858000"/>
              <a:gd name="connsiteX176" fmla="*/ 11307451 w 12192000"/>
              <a:gd name="connsiteY176" fmla="*/ 738316 h 6858000"/>
              <a:gd name="connsiteX177" fmla="*/ 11298399 w 12192000"/>
              <a:gd name="connsiteY177" fmla="*/ 736674 h 6858000"/>
              <a:gd name="connsiteX178" fmla="*/ 11498886 w 12192000"/>
              <a:gd name="connsiteY178" fmla="*/ 736637 h 6858000"/>
              <a:gd name="connsiteX179" fmla="*/ 11492279 w 12192000"/>
              <a:gd name="connsiteY179" fmla="*/ 737732 h 6858000"/>
              <a:gd name="connsiteX180" fmla="*/ 11486877 w 12192000"/>
              <a:gd name="connsiteY180" fmla="*/ 740907 h 6858000"/>
              <a:gd name="connsiteX181" fmla="*/ 11482607 w 12192000"/>
              <a:gd name="connsiteY181" fmla="*/ 745944 h 6858000"/>
              <a:gd name="connsiteX182" fmla="*/ 11479322 w 12192000"/>
              <a:gd name="connsiteY182" fmla="*/ 752733 h 6858000"/>
              <a:gd name="connsiteX183" fmla="*/ 11478848 w 12192000"/>
              <a:gd name="connsiteY183" fmla="*/ 739666 h 6858000"/>
              <a:gd name="connsiteX184" fmla="*/ 11478300 w 12192000"/>
              <a:gd name="connsiteY184" fmla="*/ 738170 h 6858000"/>
              <a:gd name="connsiteX185" fmla="*/ 11476804 w 12192000"/>
              <a:gd name="connsiteY185" fmla="*/ 737732 h 6858000"/>
              <a:gd name="connsiteX186" fmla="*/ 11473592 w 12192000"/>
              <a:gd name="connsiteY186" fmla="*/ 737732 h 6858000"/>
              <a:gd name="connsiteX187" fmla="*/ 11473592 w 12192000"/>
              <a:gd name="connsiteY187" fmla="*/ 800145 h 6858000"/>
              <a:gd name="connsiteX188" fmla="*/ 11479614 w 12192000"/>
              <a:gd name="connsiteY188" fmla="*/ 800145 h 6858000"/>
              <a:gd name="connsiteX189" fmla="*/ 11479614 w 12192000"/>
              <a:gd name="connsiteY189" fmla="*/ 759741 h 6858000"/>
              <a:gd name="connsiteX190" fmla="*/ 11482644 w 12192000"/>
              <a:gd name="connsiteY190" fmla="*/ 752295 h 6858000"/>
              <a:gd name="connsiteX191" fmla="*/ 11486549 w 12192000"/>
              <a:gd name="connsiteY191" fmla="*/ 746857 h 6858000"/>
              <a:gd name="connsiteX192" fmla="*/ 11491549 w 12192000"/>
              <a:gd name="connsiteY192" fmla="*/ 743572 h 6858000"/>
              <a:gd name="connsiteX193" fmla="*/ 11497973 w 12192000"/>
              <a:gd name="connsiteY193" fmla="*/ 742477 h 6858000"/>
              <a:gd name="connsiteX194" fmla="*/ 11502024 w 12192000"/>
              <a:gd name="connsiteY194" fmla="*/ 742915 h 6858000"/>
              <a:gd name="connsiteX195" fmla="*/ 11504324 w 12192000"/>
              <a:gd name="connsiteY195" fmla="*/ 743353 h 6858000"/>
              <a:gd name="connsiteX196" fmla="*/ 11505528 w 12192000"/>
              <a:gd name="connsiteY196" fmla="*/ 742331 h 6858000"/>
              <a:gd name="connsiteX197" fmla="*/ 11506039 w 12192000"/>
              <a:gd name="connsiteY197" fmla="*/ 738206 h 6858000"/>
              <a:gd name="connsiteX198" fmla="*/ 11502718 w 12192000"/>
              <a:gd name="connsiteY198" fmla="*/ 736965 h 6858000"/>
              <a:gd name="connsiteX199" fmla="*/ 11498886 w 12192000"/>
              <a:gd name="connsiteY199" fmla="*/ 736637 h 6858000"/>
              <a:gd name="connsiteX200" fmla="*/ 11230110 w 12192000"/>
              <a:gd name="connsiteY200" fmla="*/ 736601 h 6858000"/>
              <a:gd name="connsiteX201" fmla="*/ 11217883 w 12192000"/>
              <a:gd name="connsiteY201" fmla="*/ 739119 h 6858000"/>
              <a:gd name="connsiteX202" fmla="*/ 11207590 w 12192000"/>
              <a:gd name="connsiteY202" fmla="*/ 746529 h 6858000"/>
              <a:gd name="connsiteX203" fmla="*/ 11208649 w 12192000"/>
              <a:gd name="connsiteY203" fmla="*/ 748354 h 6858000"/>
              <a:gd name="connsiteX204" fmla="*/ 11209415 w 12192000"/>
              <a:gd name="connsiteY204" fmla="*/ 749157 h 6858000"/>
              <a:gd name="connsiteX205" fmla="*/ 11210547 w 12192000"/>
              <a:gd name="connsiteY205" fmla="*/ 749485 h 6858000"/>
              <a:gd name="connsiteX206" fmla="*/ 11212883 w 12192000"/>
              <a:gd name="connsiteY206" fmla="*/ 748244 h 6858000"/>
              <a:gd name="connsiteX207" fmla="*/ 11216460 w 12192000"/>
              <a:gd name="connsiteY207" fmla="*/ 745470 h 6858000"/>
              <a:gd name="connsiteX208" fmla="*/ 11221825 w 12192000"/>
              <a:gd name="connsiteY208" fmla="*/ 742696 h 6858000"/>
              <a:gd name="connsiteX209" fmla="*/ 11229526 w 12192000"/>
              <a:gd name="connsiteY209" fmla="*/ 741455 h 6858000"/>
              <a:gd name="connsiteX210" fmla="*/ 11240585 w 12192000"/>
              <a:gd name="connsiteY210" fmla="*/ 746127 h 6858000"/>
              <a:gd name="connsiteX211" fmla="*/ 11244308 w 12192000"/>
              <a:gd name="connsiteY211" fmla="*/ 759449 h 6858000"/>
              <a:gd name="connsiteX212" fmla="*/ 11244308 w 12192000"/>
              <a:gd name="connsiteY212" fmla="*/ 765982 h 6858000"/>
              <a:gd name="connsiteX213" fmla="*/ 11226132 w 12192000"/>
              <a:gd name="connsiteY213" fmla="*/ 767734 h 6858000"/>
              <a:gd name="connsiteX214" fmla="*/ 11213759 w 12192000"/>
              <a:gd name="connsiteY214" fmla="*/ 771749 h 6858000"/>
              <a:gd name="connsiteX215" fmla="*/ 11206678 w 12192000"/>
              <a:gd name="connsiteY215" fmla="*/ 777662 h 6858000"/>
              <a:gd name="connsiteX216" fmla="*/ 11204415 w 12192000"/>
              <a:gd name="connsiteY216" fmla="*/ 784998 h 6858000"/>
              <a:gd name="connsiteX217" fmla="*/ 11205838 w 12192000"/>
              <a:gd name="connsiteY217" fmla="*/ 792298 h 6858000"/>
              <a:gd name="connsiteX218" fmla="*/ 11209598 w 12192000"/>
              <a:gd name="connsiteY218" fmla="*/ 797298 h 6858000"/>
              <a:gd name="connsiteX219" fmla="*/ 11214963 w 12192000"/>
              <a:gd name="connsiteY219" fmla="*/ 800181 h 6858000"/>
              <a:gd name="connsiteX220" fmla="*/ 11221168 w 12192000"/>
              <a:gd name="connsiteY220" fmla="*/ 801130 h 6858000"/>
              <a:gd name="connsiteX221" fmla="*/ 11228176 w 12192000"/>
              <a:gd name="connsiteY221" fmla="*/ 800364 h 6858000"/>
              <a:gd name="connsiteX222" fmla="*/ 11234125 w 12192000"/>
              <a:gd name="connsiteY222" fmla="*/ 798247 h 6858000"/>
              <a:gd name="connsiteX223" fmla="*/ 11239417 w 12192000"/>
              <a:gd name="connsiteY223" fmla="*/ 794853 h 6858000"/>
              <a:gd name="connsiteX224" fmla="*/ 11244527 w 12192000"/>
              <a:gd name="connsiteY224" fmla="*/ 790327 h 6858000"/>
              <a:gd name="connsiteX225" fmla="*/ 11245403 w 12192000"/>
              <a:gd name="connsiteY225" fmla="*/ 798357 h 6858000"/>
              <a:gd name="connsiteX226" fmla="*/ 11247739 w 12192000"/>
              <a:gd name="connsiteY226" fmla="*/ 800109 h 6858000"/>
              <a:gd name="connsiteX227" fmla="*/ 11250111 w 12192000"/>
              <a:gd name="connsiteY227" fmla="*/ 800109 h 6858000"/>
              <a:gd name="connsiteX228" fmla="*/ 11250111 w 12192000"/>
              <a:gd name="connsiteY228" fmla="*/ 759449 h 6858000"/>
              <a:gd name="connsiteX229" fmla="*/ 11248870 w 12192000"/>
              <a:gd name="connsiteY229" fmla="*/ 749996 h 6858000"/>
              <a:gd name="connsiteX230" fmla="*/ 11245147 w 12192000"/>
              <a:gd name="connsiteY230" fmla="*/ 742769 h 6858000"/>
              <a:gd name="connsiteX231" fmla="*/ 11238906 w 12192000"/>
              <a:gd name="connsiteY231" fmla="*/ 738207 h 6858000"/>
              <a:gd name="connsiteX232" fmla="*/ 11230110 w 12192000"/>
              <a:gd name="connsiteY232" fmla="*/ 736601 h 6858000"/>
              <a:gd name="connsiteX233" fmla="*/ 11018017 w 12192000"/>
              <a:gd name="connsiteY233" fmla="*/ 736601 h 6858000"/>
              <a:gd name="connsiteX234" fmla="*/ 11005790 w 12192000"/>
              <a:gd name="connsiteY234" fmla="*/ 739119 h 6858000"/>
              <a:gd name="connsiteX235" fmla="*/ 10995497 w 12192000"/>
              <a:gd name="connsiteY235" fmla="*/ 746529 h 6858000"/>
              <a:gd name="connsiteX236" fmla="*/ 10996556 w 12192000"/>
              <a:gd name="connsiteY236" fmla="*/ 748354 h 6858000"/>
              <a:gd name="connsiteX237" fmla="*/ 10997322 w 12192000"/>
              <a:gd name="connsiteY237" fmla="*/ 749157 h 6858000"/>
              <a:gd name="connsiteX238" fmla="*/ 10998454 w 12192000"/>
              <a:gd name="connsiteY238" fmla="*/ 749485 h 6858000"/>
              <a:gd name="connsiteX239" fmla="*/ 11000790 w 12192000"/>
              <a:gd name="connsiteY239" fmla="*/ 748244 h 6858000"/>
              <a:gd name="connsiteX240" fmla="*/ 11004367 w 12192000"/>
              <a:gd name="connsiteY240" fmla="*/ 745470 h 6858000"/>
              <a:gd name="connsiteX241" fmla="*/ 11009732 w 12192000"/>
              <a:gd name="connsiteY241" fmla="*/ 742696 h 6858000"/>
              <a:gd name="connsiteX242" fmla="*/ 11017433 w 12192000"/>
              <a:gd name="connsiteY242" fmla="*/ 741455 h 6858000"/>
              <a:gd name="connsiteX243" fmla="*/ 11028492 w 12192000"/>
              <a:gd name="connsiteY243" fmla="*/ 746127 h 6858000"/>
              <a:gd name="connsiteX244" fmla="*/ 11032215 w 12192000"/>
              <a:gd name="connsiteY244" fmla="*/ 759449 h 6858000"/>
              <a:gd name="connsiteX245" fmla="*/ 11032215 w 12192000"/>
              <a:gd name="connsiteY245" fmla="*/ 765982 h 6858000"/>
              <a:gd name="connsiteX246" fmla="*/ 11014039 w 12192000"/>
              <a:gd name="connsiteY246" fmla="*/ 767734 h 6858000"/>
              <a:gd name="connsiteX247" fmla="*/ 11001666 w 12192000"/>
              <a:gd name="connsiteY247" fmla="*/ 771749 h 6858000"/>
              <a:gd name="connsiteX248" fmla="*/ 10994585 w 12192000"/>
              <a:gd name="connsiteY248" fmla="*/ 777662 h 6858000"/>
              <a:gd name="connsiteX249" fmla="*/ 10992322 w 12192000"/>
              <a:gd name="connsiteY249" fmla="*/ 784998 h 6858000"/>
              <a:gd name="connsiteX250" fmla="*/ 10993745 w 12192000"/>
              <a:gd name="connsiteY250" fmla="*/ 792298 h 6858000"/>
              <a:gd name="connsiteX251" fmla="*/ 10997505 w 12192000"/>
              <a:gd name="connsiteY251" fmla="*/ 797298 h 6858000"/>
              <a:gd name="connsiteX252" fmla="*/ 11002870 w 12192000"/>
              <a:gd name="connsiteY252" fmla="*/ 800181 h 6858000"/>
              <a:gd name="connsiteX253" fmla="*/ 11009075 w 12192000"/>
              <a:gd name="connsiteY253" fmla="*/ 801130 h 6858000"/>
              <a:gd name="connsiteX254" fmla="*/ 11016083 w 12192000"/>
              <a:gd name="connsiteY254" fmla="*/ 800364 h 6858000"/>
              <a:gd name="connsiteX255" fmla="*/ 11022032 w 12192000"/>
              <a:gd name="connsiteY255" fmla="*/ 798247 h 6858000"/>
              <a:gd name="connsiteX256" fmla="*/ 11027324 w 12192000"/>
              <a:gd name="connsiteY256" fmla="*/ 794853 h 6858000"/>
              <a:gd name="connsiteX257" fmla="*/ 11032434 w 12192000"/>
              <a:gd name="connsiteY257" fmla="*/ 790327 h 6858000"/>
              <a:gd name="connsiteX258" fmla="*/ 11033310 w 12192000"/>
              <a:gd name="connsiteY258" fmla="*/ 798357 h 6858000"/>
              <a:gd name="connsiteX259" fmla="*/ 11035646 w 12192000"/>
              <a:gd name="connsiteY259" fmla="*/ 800109 h 6858000"/>
              <a:gd name="connsiteX260" fmla="*/ 11038018 w 12192000"/>
              <a:gd name="connsiteY260" fmla="*/ 800109 h 6858000"/>
              <a:gd name="connsiteX261" fmla="*/ 11038018 w 12192000"/>
              <a:gd name="connsiteY261" fmla="*/ 759449 h 6858000"/>
              <a:gd name="connsiteX262" fmla="*/ 11036777 w 12192000"/>
              <a:gd name="connsiteY262" fmla="*/ 749996 h 6858000"/>
              <a:gd name="connsiteX263" fmla="*/ 11033054 w 12192000"/>
              <a:gd name="connsiteY263" fmla="*/ 742769 h 6858000"/>
              <a:gd name="connsiteX264" fmla="*/ 11026813 w 12192000"/>
              <a:gd name="connsiteY264" fmla="*/ 738207 h 6858000"/>
              <a:gd name="connsiteX265" fmla="*/ 11018017 w 12192000"/>
              <a:gd name="connsiteY265" fmla="*/ 736601 h 6858000"/>
              <a:gd name="connsiteX266" fmla="*/ 11832117 w 12192000"/>
              <a:gd name="connsiteY266" fmla="*/ 734703 h 6858000"/>
              <a:gd name="connsiteX267" fmla="*/ 11826824 w 12192000"/>
              <a:gd name="connsiteY267" fmla="*/ 735360 h 6858000"/>
              <a:gd name="connsiteX268" fmla="*/ 11822299 w 12192000"/>
              <a:gd name="connsiteY268" fmla="*/ 737148 h 6858000"/>
              <a:gd name="connsiteX269" fmla="*/ 11818357 w 12192000"/>
              <a:gd name="connsiteY269" fmla="*/ 739849 h 6858000"/>
              <a:gd name="connsiteX270" fmla="*/ 11814816 w 12192000"/>
              <a:gd name="connsiteY270" fmla="*/ 743317 h 6858000"/>
              <a:gd name="connsiteX271" fmla="*/ 11813794 w 12192000"/>
              <a:gd name="connsiteY271" fmla="*/ 738535 h 6858000"/>
              <a:gd name="connsiteX272" fmla="*/ 11809853 w 12192000"/>
              <a:gd name="connsiteY272" fmla="*/ 735725 h 6858000"/>
              <a:gd name="connsiteX273" fmla="*/ 11800363 w 12192000"/>
              <a:gd name="connsiteY273" fmla="*/ 735725 h 6858000"/>
              <a:gd name="connsiteX274" fmla="*/ 11800363 w 12192000"/>
              <a:gd name="connsiteY274" fmla="*/ 800072 h 6858000"/>
              <a:gd name="connsiteX275" fmla="*/ 11800363 w 12192000"/>
              <a:gd name="connsiteY275" fmla="*/ 800181 h 6858000"/>
              <a:gd name="connsiteX276" fmla="*/ 11815911 w 12192000"/>
              <a:gd name="connsiteY276" fmla="*/ 800181 h 6858000"/>
              <a:gd name="connsiteX277" fmla="*/ 11815911 w 12192000"/>
              <a:gd name="connsiteY277" fmla="*/ 753062 h 6858000"/>
              <a:gd name="connsiteX278" fmla="*/ 11821350 w 12192000"/>
              <a:gd name="connsiteY278" fmla="*/ 748499 h 6858000"/>
              <a:gd name="connsiteX279" fmla="*/ 11827664 w 12192000"/>
              <a:gd name="connsiteY279" fmla="*/ 746821 h 6858000"/>
              <a:gd name="connsiteX280" fmla="*/ 11835292 w 12192000"/>
              <a:gd name="connsiteY280" fmla="*/ 749777 h 6858000"/>
              <a:gd name="connsiteX281" fmla="*/ 11837884 w 12192000"/>
              <a:gd name="connsiteY281" fmla="*/ 759194 h 6858000"/>
              <a:gd name="connsiteX282" fmla="*/ 11837884 w 12192000"/>
              <a:gd name="connsiteY282" fmla="*/ 800145 h 6858000"/>
              <a:gd name="connsiteX283" fmla="*/ 11853432 w 12192000"/>
              <a:gd name="connsiteY283" fmla="*/ 800145 h 6858000"/>
              <a:gd name="connsiteX284" fmla="*/ 11853432 w 12192000"/>
              <a:gd name="connsiteY284" fmla="*/ 759194 h 6858000"/>
              <a:gd name="connsiteX285" fmla="*/ 11854308 w 12192000"/>
              <a:gd name="connsiteY285" fmla="*/ 753865 h 6858000"/>
              <a:gd name="connsiteX286" fmla="*/ 11856717 w 12192000"/>
              <a:gd name="connsiteY286" fmla="*/ 749996 h 6858000"/>
              <a:gd name="connsiteX287" fmla="*/ 11860294 w 12192000"/>
              <a:gd name="connsiteY287" fmla="*/ 747660 h 6858000"/>
              <a:gd name="connsiteX288" fmla="*/ 11864710 w 12192000"/>
              <a:gd name="connsiteY288" fmla="*/ 746857 h 6858000"/>
              <a:gd name="connsiteX289" fmla="*/ 11872630 w 12192000"/>
              <a:gd name="connsiteY289" fmla="*/ 749959 h 6858000"/>
              <a:gd name="connsiteX290" fmla="*/ 11875331 w 12192000"/>
              <a:gd name="connsiteY290" fmla="*/ 759194 h 6858000"/>
              <a:gd name="connsiteX291" fmla="*/ 11875331 w 12192000"/>
              <a:gd name="connsiteY291" fmla="*/ 800145 h 6858000"/>
              <a:gd name="connsiteX292" fmla="*/ 11890806 w 12192000"/>
              <a:gd name="connsiteY292" fmla="*/ 800145 h 6858000"/>
              <a:gd name="connsiteX293" fmla="*/ 11890806 w 12192000"/>
              <a:gd name="connsiteY293" fmla="*/ 759194 h 6858000"/>
              <a:gd name="connsiteX294" fmla="*/ 11889346 w 12192000"/>
              <a:gd name="connsiteY294" fmla="*/ 748828 h 6858000"/>
              <a:gd name="connsiteX295" fmla="*/ 11885040 w 12192000"/>
              <a:gd name="connsiteY295" fmla="*/ 741163 h 6858000"/>
              <a:gd name="connsiteX296" fmla="*/ 11878068 w 12192000"/>
              <a:gd name="connsiteY296" fmla="*/ 736382 h 6858000"/>
              <a:gd name="connsiteX297" fmla="*/ 11868579 w 12192000"/>
              <a:gd name="connsiteY297" fmla="*/ 734740 h 6858000"/>
              <a:gd name="connsiteX298" fmla="*/ 11862447 w 12192000"/>
              <a:gd name="connsiteY298" fmla="*/ 735433 h 6858000"/>
              <a:gd name="connsiteX299" fmla="*/ 11856717 w 12192000"/>
              <a:gd name="connsiteY299" fmla="*/ 737550 h 6858000"/>
              <a:gd name="connsiteX300" fmla="*/ 11851753 w 12192000"/>
              <a:gd name="connsiteY300" fmla="*/ 741273 h 6858000"/>
              <a:gd name="connsiteX301" fmla="*/ 11847994 w 12192000"/>
              <a:gd name="connsiteY301" fmla="*/ 746748 h 6858000"/>
              <a:gd name="connsiteX302" fmla="*/ 11842117 w 12192000"/>
              <a:gd name="connsiteY302" fmla="*/ 737988 h 6858000"/>
              <a:gd name="connsiteX303" fmla="*/ 11832117 w 12192000"/>
              <a:gd name="connsiteY303" fmla="*/ 734703 h 6858000"/>
              <a:gd name="connsiteX304" fmla="*/ 11727038 w 12192000"/>
              <a:gd name="connsiteY304" fmla="*/ 734703 h 6858000"/>
              <a:gd name="connsiteX305" fmla="*/ 11721745 w 12192000"/>
              <a:gd name="connsiteY305" fmla="*/ 735360 h 6858000"/>
              <a:gd name="connsiteX306" fmla="*/ 11717220 w 12192000"/>
              <a:gd name="connsiteY306" fmla="*/ 737148 h 6858000"/>
              <a:gd name="connsiteX307" fmla="*/ 11713278 w 12192000"/>
              <a:gd name="connsiteY307" fmla="*/ 739849 h 6858000"/>
              <a:gd name="connsiteX308" fmla="*/ 11709737 w 12192000"/>
              <a:gd name="connsiteY308" fmla="*/ 743317 h 6858000"/>
              <a:gd name="connsiteX309" fmla="*/ 11708715 w 12192000"/>
              <a:gd name="connsiteY309" fmla="*/ 738535 h 6858000"/>
              <a:gd name="connsiteX310" fmla="*/ 11704774 w 12192000"/>
              <a:gd name="connsiteY310" fmla="*/ 735725 h 6858000"/>
              <a:gd name="connsiteX311" fmla="*/ 11695284 w 12192000"/>
              <a:gd name="connsiteY311" fmla="*/ 735725 h 6858000"/>
              <a:gd name="connsiteX312" fmla="*/ 11695284 w 12192000"/>
              <a:gd name="connsiteY312" fmla="*/ 800072 h 6858000"/>
              <a:gd name="connsiteX313" fmla="*/ 11695284 w 12192000"/>
              <a:gd name="connsiteY313" fmla="*/ 800181 h 6858000"/>
              <a:gd name="connsiteX314" fmla="*/ 11710832 w 12192000"/>
              <a:gd name="connsiteY314" fmla="*/ 800181 h 6858000"/>
              <a:gd name="connsiteX315" fmla="*/ 11710832 w 12192000"/>
              <a:gd name="connsiteY315" fmla="*/ 753062 h 6858000"/>
              <a:gd name="connsiteX316" fmla="*/ 11716271 w 12192000"/>
              <a:gd name="connsiteY316" fmla="*/ 748499 h 6858000"/>
              <a:gd name="connsiteX317" fmla="*/ 11722585 w 12192000"/>
              <a:gd name="connsiteY317" fmla="*/ 746821 h 6858000"/>
              <a:gd name="connsiteX318" fmla="*/ 11730213 w 12192000"/>
              <a:gd name="connsiteY318" fmla="*/ 749777 h 6858000"/>
              <a:gd name="connsiteX319" fmla="*/ 11732805 w 12192000"/>
              <a:gd name="connsiteY319" fmla="*/ 759194 h 6858000"/>
              <a:gd name="connsiteX320" fmla="*/ 11732805 w 12192000"/>
              <a:gd name="connsiteY320" fmla="*/ 800145 h 6858000"/>
              <a:gd name="connsiteX321" fmla="*/ 11748353 w 12192000"/>
              <a:gd name="connsiteY321" fmla="*/ 800145 h 6858000"/>
              <a:gd name="connsiteX322" fmla="*/ 11748353 w 12192000"/>
              <a:gd name="connsiteY322" fmla="*/ 759194 h 6858000"/>
              <a:gd name="connsiteX323" fmla="*/ 11749229 w 12192000"/>
              <a:gd name="connsiteY323" fmla="*/ 753865 h 6858000"/>
              <a:gd name="connsiteX324" fmla="*/ 11751638 w 12192000"/>
              <a:gd name="connsiteY324" fmla="*/ 749996 h 6858000"/>
              <a:gd name="connsiteX325" fmla="*/ 11755215 w 12192000"/>
              <a:gd name="connsiteY325" fmla="*/ 747660 h 6858000"/>
              <a:gd name="connsiteX326" fmla="*/ 11759631 w 12192000"/>
              <a:gd name="connsiteY326" fmla="*/ 746857 h 6858000"/>
              <a:gd name="connsiteX327" fmla="*/ 11767551 w 12192000"/>
              <a:gd name="connsiteY327" fmla="*/ 749959 h 6858000"/>
              <a:gd name="connsiteX328" fmla="*/ 11770252 w 12192000"/>
              <a:gd name="connsiteY328" fmla="*/ 759194 h 6858000"/>
              <a:gd name="connsiteX329" fmla="*/ 11770252 w 12192000"/>
              <a:gd name="connsiteY329" fmla="*/ 800145 h 6858000"/>
              <a:gd name="connsiteX330" fmla="*/ 11785727 w 12192000"/>
              <a:gd name="connsiteY330" fmla="*/ 800145 h 6858000"/>
              <a:gd name="connsiteX331" fmla="*/ 11785727 w 12192000"/>
              <a:gd name="connsiteY331" fmla="*/ 759194 h 6858000"/>
              <a:gd name="connsiteX332" fmla="*/ 11784267 w 12192000"/>
              <a:gd name="connsiteY332" fmla="*/ 748828 h 6858000"/>
              <a:gd name="connsiteX333" fmla="*/ 11779961 w 12192000"/>
              <a:gd name="connsiteY333" fmla="*/ 741163 h 6858000"/>
              <a:gd name="connsiteX334" fmla="*/ 11772989 w 12192000"/>
              <a:gd name="connsiteY334" fmla="*/ 736382 h 6858000"/>
              <a:gd name="connsiteX335" fmla="*/ 11763500 w 12192000"/>
              <a:gd name="connsiteY335" fmla="*/ 734740 h 6858000"/>
              <a:gd name="connsiteX336" fmla="*/ 11757368 w 12192000"/>
              <a:gd name="connsiteY336" fmla="*/ 735433 h 6858000"/>
              <a:gd name="connsiteX337" fmla="*/ 11751638 w 12192000"/>
              <a:gd name="connsiteY337" fmla="*/ 737550 h 6858000"/>
              <a:gd name="connsiteX338" fmla="*/ 11746674 w 12192000"/>
              <a:gd name="connsiteY338" fmla="*/ 741273 h 6858000"/>
              <a:gd name="connsiteX339" fmla="*/ 11742915 w 12192000"/>
              <a:gd name="connsiteY339" fmla="*/ 746748 h 6858000"/>
              <a:gd name="connsiteX340" fmla="*/ 11737038 w 12192000"/>
              <a:gd name="connsiteY340" fmla="*/ 737988 h 6858000"/>
              <a:gd name="connsiteX341" fmla="*/ 11727038 w 12192000"/>
              <a:gd name="connsiteY341" fmla="*/ 734703 h 6858000"/>
              <a:gd name="connsiteX342" fmla="*/ 11656814 w 12192000"/>
              <a:gd name="connsiteY342" fmla="*/ 734557 h 6858000"/>
              <a:gd name="connsiteX343" fmla="*/ 11630097 w 12192000"/>
              <a:gd name="connsiteY343" fmla="*/ 744704 h 6858000"/>
              <a:gd name="connsiteX344" fmla="*/ 11632725 w 12192000"/>
              <a:gd name="connsiteY344" fmla="*/ 749740 h 6858000"/>
              <a:gd name="connsiteX345" fmla="*/ 11634550 w 12192000"/>
              <a:gd name="connsiteY345" fmla="*/ 751711 h 6858000"/>
              <a:gd name="connsiteX346" fmla="*/ 11637324 w 12192000"/>
              <a:gd name="connsiteY346" fmla="*/ 752551 h 6858000"/>
              <a:gd name="connsiteX347" fmla="*/ 11640755 w 12192000"/>
              <a:gd name="connsiteY347" fmla="*/ 751675 h 6858000"/>
              <a:gd name="connsiteX348" fmla="*/ 11644186 w 12192000"/>
              <a:gd name="connsiteY348" fmla="*/ 749704 h 6858000"/>
              <a:gd name="connsiteX349" fmla="*/ 11648529 w 12192000"/>
              <a:gd name="connsiteY349" fmla="*/ 747733 h 6858000"/>
              <a:gd name="connsiteX350" fmla="*/ 11654770 w 12192000"/>
              <a:gd name="connsiteY350" fmla="*/ 746857 h 6858000"/>
              <a:gd name="connsiteX351" fmla="*/ 11662727 w 12192000"/>
              <a:gd name="connsiteY351" fmla="*/ 749959 h 6858000"/>
              <a:gd name="connsiteX352" fmla="*/ 11665501 w 12192000"/>
              <a:gd name="connsiteY352" fmla="*/ 759522 h 6858000"/>
              <a:gd name="connsiteX353" fmla="*/ 11665501 w 12192000"/>
              <a:gd name="connsiteY353" fmla="*/ 763281 h 6858000"/>
              <a:gd name="connsiteX354" fmla="*/ 11652471 w 12192000"/>
              <a:gd name="connsiteY354" fmla="*/ 764376 h 6858000"/>
              <a:gd name="connsiteX355" fmla="*/ 11642470 w 12192000"/>
              <a:gd name="connsiteY355" fmla="*/ 766712 h 6858000"/>
              <a:gd name="connsiteX356" fmla="*/ 11635244 w 12192000"/>
              <a:gd name="connsiteY356" fmla="*/ 770107 h 6858000"/>
              <a:gd name="connsiteX357" fmla="*/ 11630462 w 12192000"/>
              <a:gd name="connsiteY357" fmla="*/ 774231 h 6858000"/>
              <a:gd name="connsiteX358" fmla="*/ 11627798 w 12192000"/>
              <a:gd name="connsiteY358" fmla="*/ 778830 h 6858000"/>
              <a:gd name="connsiteX359" fmla="*/ 11626995 w 12192000"/>
              <a:gd name="connsiteY359" fmla="*/ 783684 h 6858000"/>
              <a:gd name="connsiteX360" fmla="*/ 11628382 w 12192000"/>
              <a:gd name="connsiteY360" fmla="*/ 791276 h 6858000"/>
              <a:gd name="connsiteX361" fmla="*/ 11632287 w 12192000"/>
              <a:gd name="connsiteY361" fmla="*/ 796751 h 6858000"/>
              <a:gd name="connsiteX362" fmla="*/ 11638237 w 12192000"/>
              <a:gd name="connsiteY362" fmla="*/ 800035 h 6858000"/>
              <a:gd name="connsiteX363" fmla="*/ 11645755 w 12192000"/>
              <a:gd name="connsiteY363" fmla="*/ 801130 h 6858000"/>
              <a:gd name="connsiteX364" fmla="*/ 11652070 w 12192000"/>
              <a:gd name="connsiteY364" fmla="*/ 800546 h 6858000"/>
              <a:gd name="connsiteX365" fmla="*/ 11657435 w 12192000"/>
              <a:gd name="connsiteY365" fmla="*/ 798831 h 6858000"/>
              <a:gd name="connsiteX366" fmla="*/ 11662253 w 12192000"/>
              <a:gd name="connsiteY366" fmla="*/ 796057 h 6858000"/>
              <a:gd name="connsiteX367" fmla="*/ 11667034 w 12192000"/>
              <a:gd name="connsiteY367" fmla="*/ 792188 h 6858000"/>
              <a:gd name="connsiteX368" fmla="*/ 11668421 w 12192000"/>
              <a:gd name="connsiteY368" fmla="*/ 796824 h 6858000"/>
              <a:gd name="connsiteX369" fmla="*/ 11670319 w 12192000"/>
              <a:gd name="connsiteY369" fmla="*/ 799488 h 6858000"/>
              <a:gd name="connsiteX370" fmla="*/ 11673713 w 12192000"/>
              <a:gd name="connsiteY370" fmla="*/ 800145 h 6858000"/>
              <a:gd name="connsiteX371" fmla="*/ 11680721 w 12192000"/>
              <a:gd name="connsiteY371" fmla="*/ 800145 h 6858000"/>
              <a:gd name="connsiteX372" fmla="*/ 11680721 w 12192000"/>
              <a:gd name="connsiteY372" fmla="*/ 759485 h 6858000"/>
              <a:gd name="connsiteX373" fmla="*/ 11679115 w 12192000"/>
              <a:gd name="connsiteY373" fmla="*/ 749448 h 6858000"/>
              <a:gd name="connsiteX374" fmla="*/ 11674443 w 12192000"/>
              <a:gd name="connsiteY374" fmla="*/ 741565 h 6858000"/>
              <a:gd name="connsiteX375" fmla="*/ 11666924 w 12192000"/>
              <a:gd name="connsiteY375" fmla="*/ 736418 h 6858000"/>
              <a:gd name="connsiteX376" fmla="*/ 11656814 w 12192000"/>
              <a:gd name="connsiteY376" fmla="*/ 734557 h 6858000"/>
              <a:gd name="connsiteX377" fmla="*/ 11525784 w 12192000"/>
              <a:gd name="connsiteY377" fmla="*/ 716089 h 6858000"/>
              <a:gd name="connsiteX378" fmla="*/ 11523521 w 12192000"/>
              <a:gd name="connsiteY378" fmla="*/ 716782 h 6858000"/>
              <a:gd name="connsiteX379" fmla="*/ 11522317 w 12192000"/>
              <a:gd name="connsiteY379" fmla="*/ 718717 h 6858000"/>
              <a:gd name="connsiteX380" fmla="*/ 11519069 w 12192000"/>
              <a:gd name="connsiteY380" fmla="*/ 736273 h 6858000"/>
              <a:gd name="connsiteX381" fmla="*/ 11508703 w 12192000"/>
              <a:gd name="connsiteY381" fmla="*/ 737952 h 6858000"/>
              <a:gd name="connsiteX382" fmla="*/ 11508703 w 12192000"/>
              <a:gd name="connsiteY382" fmla="*/ 744083 h 6858000"/>
              <a:gd name="connsiteX383" fmla="*/ 11509579 w 12192000"/>
              <a:gd name="connsiteY383" fmla="*/ 746529 h 6858000"/>
              <a:gd name="connsiteX384" fmla="*/ 11511696 w 12192000"/>
              <a:gd name="connsiteY384" fmla="*/ 747332 h 6858000"/>
              <a:gd name="connsiteX385" fmla="*/ 11518266 w 12192000"/>
              <a:gd name="connsiteY385" fmla="*/ 747332 h 6858000"/>
              <a:gd name="connsiteX386" fmla="*/ 11518266 w 12192000"/>
              <a:gd name="connsiteY386" fmla="*/ 783283 h 6858000"/>
              <a:gd name="connsiteX387" fmla="*/ 11522755 w 12192000"/>
              <a:gd name="connsiteY387" fmla="*/ 796349 h 6858000"/>
              <a:gd name="connsiteX388" fmla="*/ 11535639 w 12192000"/>
              <a:gd name="connsiteY388" fmla="*/ 801094 h 6858000"/>
              <a:gd name="connsiteX389" fmla="*/ 11544764 w 12192000"/>
              <a:gd name="connsiteY389" fmla="*/ 799671 h 6858000"/>
              <a:gd name="connsiteX390" fmla="*/ 11552538 w 12192000"/>
              <a:gd name="connsiteY390" fmla="*/ 795400 h 6858000"/>
              <a:gd name="connsiteX391" fmla="*/ 11547902 w 12192000"/>
              <a:gd name="connsiteY391" fmla="*/ 787882 h 6858000"/>
              <a:gd name="connsiteX392" fmla="*/ 11546953 w 12192000"/>
              <a:gd name="connsiteY392" fmla="*/ 786860 h 6858000"/>
              <a:gd name="connsiteX393" fmla="*/ 11545822 w 12192000"/>
              <a:gd name="connsiteY393" fmla="*/ 786531 h 6858000"/>
              <a:gd name="connsiteX394" fmla="*/ 11544691 w 12192000"/>
              <a:gd name="connsiteY394" fmla="*/ 786860 h 6858000"/>
              <a:gd name="connsiteX395" fmla="*/ 11543413 w 12192000"/>
              <a:gd name="connsiteY395" fmla="*/ 787590 h 6858000"/>
              <a:gd name="connsiteX396" fmla="*/ 11541734 w 12192000"/>
              <a:gd name="connsiteY396" fmla="*/ 788320 h 6858000"/>
              <a:gd name="connsiteX397" fmla="*/ 11539325 w 12192000"/>
              <a:gd name="connsiteY397" fmla="*/ 788648 h 6858000"/>
              <a:gd name="connsiteX398" fmla="*/ 11535274 w 12192000"/>
              <a:gd name="connsiteY398" fmla="*/ 786969 h 6858000"/>
              <a:gd name="connsiteX399" fmla="*/ 11533814 w 12192000"/>
              <a:gd name="connsiteY399" fmla="*/ 782261 h 6858000"/>
              <a:gd name="connsiteX400" fmla="*/ 11533814 w 12192000"/>
              <a:gd name="connsiteY400" fmla="*/ 747368 h 6858000"/>
              <a:gd name="connsiteX401" fmla="*/ 11551005 w 12192000"/>
              <a:gd name="connsiteY401" fmla="*/ 747368 h 6858000"/>
              <a:gd name="connsiteX402" fmla="*/ 11551005 w 12192000"/>
              <a:gd name="connsiteY402" fmla="*/ 736346 h 6858000"/>
              <a:gd name="connsiteX403" fmla="*/ 11533814 w 12192000"/>
              <a:gd name="connsiteY403" fmla="*/ 736346 h 6858000"/>
              <a:gd name="connsiteX404" fmla="*/ 11533814 w 12192000"/>
              <a:gd name="connsiteY404" fmla="*/ 716089 h 6858000"/>
              <a:gd name="connsiteX405" fmla="*/ 11381688 w 12192000"/>
              <a:gd name="connsiteY405" fmla="*/ 708826 h 6858000"/>
              <a:gd name="connsiteX406" fmla="*/ 11381688 w 12192000"/>
              <a:gd name="connsiteY406" fmla="*/ 745836 h 6858000"/>
              <a:gd name="connsiteX407" fmla="*/ 11373585 w 12192000"/>
              <a:gd name="connsiteY407" fmla="*/ 738937 h 6858000"/>
              <a:gd name="connsiteX408" fmla="*/ 11362599 w 12192000"/>
              <a:gd name="connsiteY408" fmla="*/ 736601 h 6858000"/>
              <a:gd name="connsiteX409" fmla="*/ 11350956 w 12192000"/>
              <a:gd name="connsiteY409" fmla="*/ 739120 h 6858000"/>
              <a:gd name="connsiteX410" fmla="*/ 11342452 w 12192000"/>
              <a:gd name="connsiteY410" fmla="*/ 745982 h 6858000"/>
              <a:gd name="connsiteX411" fmla="*/ 11337196 w 12192000"/>
              <a:gd name="connsiteY411" fmla="*/ 756274 h 6858000"/>
              <a:gd name="connsiteX412" fmla="*/ 11335408 w 12192000"/>
              <a:gd name="connsiteY412" fmla="*/ 769049 h 6858000"/>
              <a:gd name="connsiteX413" fmla="*/ 11341795 w 12192000"/>
              <a:gd name="connsiteY413" fmla="*/ 792955 h 6858000"/>
              <a:gd name="connsiteX414" fmla="*/ 11359753 w 12192000"/>
              <a:gd name="connsiteY414" fmla="*/ 800912 h 6858000"/>
              <a:gd name="connsiteX415" fmla="*/ 11372162 w 12192000"/>
              <a:gd name="connsiteY415" fmla="*/ 797591 h 6858000"/>
              <a:gd name="connsiteX416" fmla="*/ 11381834 w 12192000"/>
              <a:gd name="connsiteY416" fmla="*/ 788612 h 6858000"/>
              <a:gd name="connsiteX417" fmla="*/ 11382455 w 12192000"/>
              <a:gd name="connsiteY417" fmla="*/ 798466 h 6858000"/>
              <a:gd name="connsiteX418" fmla="*/ 11384353 w 12192000"/>
              <a:gd name="connsiteY418" fmla="*/ 800109 h 6858000"/>
              <a:gd name="connsiteX419" fmla="*/ 11387601 w 12192000"/>
              <a:gd name="connsiteY419" fmla="*/ 800109 h 6858000"/>
              <a:gd name="connsiteX420" fmla="*/ 11387601 w 12192000"/>
              <a:gd name="connsiteY420" fmla="*/ 708826 h 6858000"/>
              <a:gd name="connsiteX421" fmla="*/ 11058530 w 12192000"/>
              <a:gd name="connsiteY421" fmla="*/ 708826 h 6858000"/>
              <a:gd name="connsiteX422" fmla="*/ 11058530 w 12192000"/>
              <a:gd name="connsiteY422" fmla="*/ 800109 h 6858000"/>
              <a:gd name="connsiteX423" fmla="*/ 11064552 w 12192000"/>
              <a:gd name="connsiteY423" fmla="*/ 800109 h 6858000"/>
              <a:gd name="connsiteX424" fmla="*/ 11064552 w 12192000"/>
              <a:gd name="connsiteY424" fmla="*/ 708826 h 6858000"/>
              <a:gd name="connsiteX425" fmla="*/ 11560896 w 12192000"/>
              <a:gd name="connsiteY425" fmla="*/ 706855 h 6858000"/>
              <a:gd name="connsiteX426" fmla="*/ 11560896 w 12192000"/>
              <a:gd name="connsiteY426" fmla="*/ 800072 h 6858000"/>
              <a:gd name="connsiteX427" fmla="*/ 11576371 w 12192000"/>
              <a:gd name="connsiteY427" fmla="*/ 800072 h 6858000"/>
              <a:gd name="connsiteX428" fmla="*/ 11576371 w 12192000"/>
              <a:gd name="connsiteY428" fmla="*/ 753537 h 6858000"/>
              <a:gd name="connsiteX429" fmla="*/ 11583014 w 12192000"/>
              <a:gd name="connsiteY429" fmla="*/ 748573 h 6858000"/>
              <a:gd name="connsiteX430" fmla="*/ 11590533 w 12192000"/>
              <a:gd name="connsiteY430" fmla="*/ 746748 h 6858000"/>
              <a:gd name="connsiteX431" fmla="*/ 11598745 w 12192000"/>
              <a:gd name="connsiteY431" fmla="*/ 749996 h 6858000"/>
              <a:gd name="connsiteX432" fmla="*/ 11601446 w 12192000"/>
              <a:gd name="connsiteY432" fmla="*/ 759121 h 6858000"/>
              <a:gd name="connsiteX433" fmla="*/ 11601446 w 12192000"/>
              <a:gd name="connsiteY433" fmla="*/ 800072 h 6858000"/>
              <a:gd name="connsiteX434" fmla="*/ 11616921 w 12192000"/>
              <a:gd name="connsiteY434" fmla="*/ 800072 h 6858000"/>
              <a:gd name="connsiteX435" fmla="*/ 11616921 w 12192000"/>
              <a:gd name="connsiteY435" fmla="*/ 759121 h 6858000"/>
              <a:gd name="connsiteX436" fmla="*/ 11615498 w 12192000"/>
              <a:gd name="connsiteY436" fmla="*/ 749230 h 6858000"/>
              <a:gd name="connsiteX437" fmla="*/ 11611373 w 12192000"/>
              <a:gd name="connsiteY437" fmla="*/ 741529 h 6858000"/>
              <a:gd name="connsiteX438" fmla="*/ 11604585 w 12192000"/>
              <a:gd name="connsiteY438" fmla="*/ 736528 h 6858000"/>
              <a:gd name="connsiteX439" fmla="*/ 11595241 w 12192000"/>
              <a:gd name="connsiteY439" fmla="*/ 734740 h 6858000"/>
              <a:gd name="connsiteX440" fmla="*/ 11584657 w 12192000"/>
              <a:gd name="connsiteY440" fmla="*/ 736930 h 6858000"/>
              <a:gd name="connsiteX441" fmla="*/ 11576371 w 12192000"/>
              <a:gd name="connsiteY441" fmla="*/ 742624 h 6858000"/>
              <a:gd name="connsiteX442" fmla="*/ 11576371 w 12192000"/>
              <a:gd name="connsiteY442" fmla="*/ 706855 h 6858000"/>
              <a:gd name="connsiteX443" fmla="*/ 11321539 w 12192000"/>
              <a:gd name="connsiteY443" fmla="*/ 434247 h 6858000"/>
              <a:gd name="connsiteX444" fmla="*/ 11348438 w 12192000"/>
              <a:gd name="connsiteY444" fmla="*/ 434247 h 6858000"/>
              <a:gd name="connsiteX445" fmla="*/ 11348438 w 12192000"/>
              <a:gd name="connsiteY445" fmla="*/ 438846 h 6858000"/>
              <a:gd name="connsiteX446" fmla="*/ 11333730 w 12192000"/>
              <a:gd name="connsiteY446" fmla="*/ 494871 h 6858000"/>
              <a:gd name="connsiteX447" fmla="*/ 11292340 w 12192000"/>
              <a:gd name="connsiteY447" fmla="*/ 514909 h 6858000"/>
              <a:gd name="connsiteX448" fmla="*/ 11264273 w 12192000"/>
              <a:gd name="connsiteY448" fmla="*/ 504616 h 6858000"/>
              <a:gd name="connsiteX449" fmla="*/ 11253907 w 12192000"/>
              <a:gd name="connsiteY449" fmla="*/ 476877 h 6858000"/>
              <a:gd name="connsiteX450" fmla="*/ 11268872 w 12192000"/>
              <a:gd name="connsiteY450" fmla="*/ 443883 h 6858000"/>
              <a:gd name="connsiteX451" fmla="*/ 11321539 w 12192000"/>
              <a:gd name="connsiteY451" fmla="*/ 434247 h 6858000"/>
              <a:gd name="connsiteX452" fmla="*/ 11301684 w 12192000"/>
              <a:gd name="connsiteY452" fmla="*/ 291866 h 6858000"/>
              <a:gd name="connsiteX453" fmla="*/ 11253068 w 12192000"/>
              <a:gd name="connsiteY453" fmla="*/ 296209 h 6858000"/>
              <a:gd name="connsiteX454" fmla="*/ 11207882 w 12192000"/>
              <a:gd name="connsiteY454" fmla="*/ 309750 h 6858000"/>
              <a:gd name="connsiteX455" fmla="*/ 11207882 w 12192000"/>
              <a:gd name="connsiteY455" fmla="*/ 367053 h 6858000"/>
              <a:gd name="connsiteX456" fmla="*/ 11255039 w 12192000"/>
              <a:gd name="connsiteY456" fmla="*/ 347599 h 6858000"/>
              <a:gd name="connsiteX457" fmla="*/ 11301720 w 12192000"/>
              <a:gd name="connsiteY457" fmla="*/ 341504 h 6858000"/>
              <a:gd name="connsiteX458" fmla="*/ 11336576 w 12192000"/>
              <a:gd name="connsiteY458" fmla="*/ 349899 h 6858000"/>
              <a:gd name="connsiteX459" fmla="*/ 11348438 w 12192000"/>
              <a:gd name="connsiteY459" fmla="*/ 374572 h 6858000"/>
              <a:gd name="connsiteX460" fmla="*/ 11348438 w 12192000"/>
              <a:gd name="connsiteY460" fmla="*/ 385667 h 6858000"/>
              <a:gd name="connsiteX461" fmla="*/ 11301757 w 12192000"/>
              <a:gd name="connsiteY461" fmla="*/ 385667 h 6858000"/>
              <a:gd name="connsiteX462" fmla="*/ 11211532 w 12192000"/>
              <a:gd name="connsiteY462" fmla="*/ 407128 h 6858000"/>
              <a:gd name="connsiteX463" fmla="*/ 11182370 w 12192000"/>
              <a:gd name="connsiteY463" fmla="*/ 473629 h 6858000"/>
              <a:gd name="connsiteX464" fmla="*/ 11206824 w 12192000"/>
              <a:gd name="connsiteY464" fmla="*/ 538414 h 6858000"/>
              <a:gd name="connsiteX465" fmla="*/ 11275149 w 12192000"/>
              <a:gd name="connsiteY465" fmla="*/ 561590 h 6858000"/>
              <a:gd name="connsiteX466" fmla="*/ 11317196 w 12192000"/>
              <a:gd name="connsiteY466" fmla="*/ 552393 h 6858000"/>
              <a:gd name="connsiteX467" fmla="*/ 11348438 w 12192000"/>
              <a:gd name="connsiteY467" fmla="*/ 526187 h 6858000"/>
              <a:gd name="connsiteX468" fmla="*/ 11348438 w 12192000"/>
              <a:gd name="connsiteY468" fmla="*/ 555021 h 6858000"/>
              <a:gd name="connsiteX469" fmla="*/ 11415231 w 12192000"/>
              <a:gd name="connsiteY469" fmla="*/ 555021 h 6858000"/>
              <a:gd name="connsiteX470" fmla="*/ 11415231 w 12192000"/>
              <a:gd name="connsiteY470" fmla="*/ 408223 h 6858000"/>
              <a:gd name="connsiteX471" fmla="*/ 11389791 w 12192000"/>
              <a:gd name="connsiteY471" fmla="*/ 317306 h 6858000"/>
              <a:gd name="connsiteX472" fmla="*/ 11301684 w 12192000"/>
              <a:gd name="connsiteY472" fmla="*/ 291866 h 6858000"/>
              <a:gd name="connsiteX473" fmla="*/ 11492899 w 12192000"/>
              <a:gd name="connsiteY473" fmla="*/ 225110 h 6858000"/>
              <a:gd name="connsiteX474" fmla="*/ 11492899 w 12192000"/>
              <a:gd name="connsiteY474" fmla="*/ 298107 h 6858000"/>
              <a:gd name="connsiteX475" fmla="*/ 11427202 w 12192000"/>
              <a:gd name="connsiteY475" fmla="*/ 298107 h 6858000"/>
              <a:gd name="connsiteX476" fmla="*/ 11427202 w 12192000"/>
              <a:gd name="connsiteY476" fmla="*/ 349935 h 6858000"/>
              <a:gd name="connsiteX477" fmla="*/ 11492899 w 12192000"/>
              <a:gd name="connsiteY477" fmla="*/ 349935 h 6858000"/>
              <a:gd name="connsiteX478" fmla="*/ 11492899 w 12192000"/>
              <a:gd name="connsiteY478" fmla="*/ 467971 h 6858000"/>
              <a:gd name="connsiteX479" fmla="*/ 11513302 w 12192000"/>
              <a:gd name="connsiteY479" fmla="*/ 536552 h 6858000"/>
              <a:gd name="connsiteX480" fmla="*/ 11591518 w 12192000"/>
              <a:gd name="connsiteY480" fmla="*/ 555057 h 6858000"/>
              <a:gd name="connsiteX481" fmla="*/ 11648018 w 12192000"/>
              <a:gd name="connsiteY481" fmla="*/ 555057 h 6858000"/>
              <a:gd name="connsiteX482" fmla="*/ 11648018 w 12192000"/>
              <a:gd name="connsiteY482" fmla="*/ 503229 h 6858000"/>
              <a:gd name="connsiteX483" fmla="*/ 11596336 w 12192000"/>
              <a:gd name="connsiteY483" fmla="*/ 503229 h 6858000"/>
              <a:gd name="connsiteX484" fmla="*/ 11568415 w 12192000"/>
              <a:gd name="connsiteY484" fmla="*/ 495783 h 6858000"/>
              <a:gd name="connsiteX485" fmla="*/ 11560020 w 12192000"/>
              <a:gd name="connsiteY485" fmla="*/ 471183 h 6858000"/>
              <a:gd name="connsiteX486" fmla="*/ 11560020 w 12192000"/>
              <a:gd name="connsiteY486" fmla="*/ 349935 h 6858000"/>
              <a:gd name="connsiteX487" fmla="*/ 11647982 w 12192000"/>
              <a:gd name="connsiteY487" fmla="*/ 349935 h 6858000"/>
              <a:gd name="connsiteX488" fmla="*/ 11647982 w 12192000"/>
              <a:gd name="connsiteY488" fmla="*/ 298107 h 6858000"/>
              <a:gd name="connsiteX489" fmla="*/ 11560020 w 12192000"/>
              <a:gd name="connsiteY489" fmla="*/ 298107 h 6858000"/>
              <a:gd name="connsiteX490" fmla="*/ 11560020 w 12192000"/>
              <a:gd name="connsiteY490" fmla="*/ 225110 h 6858000"/>
              <a:gd name="connsiteX491" fmla="*/ 11773427 w 12192000"/>
              <a:gd name="connsiteY491" fmla="*/ 198101 h 6858000"/>
              <a:gd name="connsiteX492" fmla="*/ 11773427 w 12192000"/>
              <a:gd name="connsiteY492" fmla="*/ 241534 h 6858000"/>
              <a:gd name="connsiteX493" fmla="*/ 11828905 w 12192000"/>
              <a:gd name="connsiteY493" fmla="*/ 241534 h 6858000"/>
              <a:gd name="connsiteX494" fmla="*/ 11828905 w 12192000"/>
              <a:gd name="connsiteY494" fmla="*/ 573671 h 6858000"/>
              <a:gd name="connsiteX495" fmla="*/ 11773427 w 12192000"/>
              <a:gd name="connsiteY495" fmla="*/ 573671 h 6858000"/>
              <a:gd name="connsiteX496" fmla="*/ 11773427 w 12192000"/>
              <a:gd name="connsiteY496" fmla="*/ 617105 h 6858000"/>
              <a:gd name="connsiteX497" fmla="*/ 11889857 w 12192000"/>
              <a:gd name="connsiteY497" fmla="*/ 617105 h 6858000"/>
              <a:gd name="connsiteX498" fmla="*/ 11889857 w 12192000"/>
              <a:gd name="connsiteY498" fmla="*/ 198101 h 6858000"/>
              <a:gd name="connsiteX499" fmla="*/ 10990132 w 12192000"/>
              <a:gd name="connsiteY499" fmla="*/ 197736 h 6858000"/>
              <a:gd name="connsiteX500" fmla="*/ 10990132 w 12192000"/>
              <a:gd name="connsiteY500" fmla="*/ 617105 h 6858000"/>
              <a:gd name="connsiteX501" fmla="*/ 11106635 w 12192000"/>
              <a:gd name="connsiteY501" fmla="*/ 617105 h 6858000"/>
              <a:gd name="connsiteX502" fmla="*/ 11106635 w 12192000"/>
              <a:gd name="connsiteY502" fmla="*/ 573671 h 6858000"/>
              <a:gd name="connsiteX503" fmla="*/ 11051085 w 12192000"/>
              <a:gd name="connsiteY503" fmla="*/ 573671 h 6858000"/>
              <a:gd name="connsiteX504" fmla="*/ 11051085 w 12192000"/>
              <a:gd name="connsiteY504" fmla="*/ 241169 h 6858000"/>
              <a:gd name="connsiteX505" fmla="*/ 11106635 w 12192000"/>
              <a:gd name="connsiteY505" fmla="*/ 241169 h 6858000"/>
              <a:gd name="connsiteX506" fmla="*/ 11106635 w 12192000"/>
              <a:gd name="connsiteY506" fmla="*/ 197736 h 6858000"/>
              <a:gd name="connsiteX507" fmla="*/ 0 w 12192000"/>
              <a:gd name="connsiteY507" fmla="*/ 0 h 6858000"/>
              <a:gd name="connsiteX508" fmla="*/ 12192000 w 12192000"/>
              <a:gd name="connsiteY508" fmla="*/ 0 h 6858000"/>
              <a:gd name="connsiteX509" fmla="*/ 12192000 w 12192000"/>
              <a:gd name="connsiteY509" fmla="*/ 6858000 h 6858000"/>
              <a:gd name="connsiteX510" fmla="*/ 0 w 12192000"/>
              <a:gd name="connsiteY5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</a:cxnLst>
            <a:rect l="l" t="t" r="r" b="b"/>
            <a:pathLst>
              <a:path w="12192000" h="6858000">
                <a:moveTo>
                  <a:pt x="11665610" y="772625"/>
                </a:moveTo>
                <a:lnTo>
                  <a:pt x="11665610" y="783465"/>
                </a:lnTo>
                <a:cubicBezTo>
                  <a:pt x="11663421" y="785837"/>
                  <a:pt x="11661158" y="787553"/>
                  <a:pt x="11658822" y="788721"/>
                </a:cubicBezTo>
                <a:cubicBezTo>
                  <a:pt x="11656486" y="789852"/>
                  <a:pt x="11653748" y="790436"/>
                  <a:pt x="11650573" y="790436"/>
                </a:cubicBezTo>
                <a:cubicBezTo>
                  <a:pt x="11647982" y="790436"/>
                  <a:pt x="11645865" y="789852"/>
                  <a:pt x="11644259" y="788684"/>
                </a:cubicBezTo>
                <a:cubicBezTo>
                  <a:pt x="11642653" y="787516"/>
                  <a:pt x="11641850" y="785545"/>
                  <a:pt x="11641850" y="782845"/>
                </a:cubicBezTo>
                <a:cubicBezTo>
                  <a:pt x="11641850" y="781458"/>
                  <a:pt x="11642251" y="780180"/>
                  <a:pt x="11643054" y="779012"/>
                </a:cubicBezTo>
                <a:cubicBezTo>
                  <a:pt x="11643821" y="777844"/>
                  <a:pt x="11645171" y="776822"/>
                  <a:pt x="11646996" y="775946"/>
                </a:cubicBezTo>
                <a:cubicBezTo>
                  <a:pt x="11648821" y="775070"/>
                  <a:pt x="11651266" y="774340"/>
                  <a:pt x="11654332" y="773793"/>
                </a:cubicBezTo>
                <a:cubicBezTo>
                  <a:pt x="11657362" y="773209"/>
                  <a:pt x="11661121" y="772844"/>
                  <a:pt x="11665610" y="772625"/>
                </a:cubicBezTo>
                <a:close/>
                <a:moveTo>
                  <a:pt x="11244271" y="769924"/>
                </a:moveTo>
                <a:lnTo>
                  <a:pt x="11244308" y="769924"/>
                </a:lnTo>
                <a:lnTo>
                  <a:pt x="11244308" y="786276"/>
                </a:lnTo>
                <a:cubicBezTo>
                  <a:pt x="11242848" y="787772"/>
                  <a:pt x="11241352" y="789195"/>
                  <a:pt x="11239855" y="790473"/>
                </a:cubicBezTo>
                <a:cubicBezTo>
                  <a:pt x="11238359" y="791787"/>
                  <a:pt x="11236753" y="792882"/>
                  <a:pt x="11235001" y="793831"/>
                </a:cubicBezTo>
                <a:cubicBezTo>
                  <a:pt x="11233249" y="794780"/>
                  <a:pt x="11231387" y="795510"/>
                  <a:pt x="11229344" y="796021"/>
                </a:cubicBezTo>
                <a:cubicBezTo>
                  <a:pt x="11227300" y="796532"/>
                  <a:pt x="11225073" y="796787"/>
                  <a:pt x="11222664" y="796787"/>
                </a:cubicBezTo>
                <a:cubicBezTo>
                  <a:pt x="11221022" y="796787"/>
                  <a:pt x="11219452" y="796568"/>
                  <a:pt x="11217956" y="796094"/>
                </a:cubicBezTo>
                <a:cubicBezTo>
                  <a:pt x="11216460" y="795656"/>
                  <a:pt x="11215109" y="794926"/>
                  <a:pt x="11213978" y="793940"/>
                </a:cubicBezTo>
                <a:cubicBezTo>
                  <a:pt x="11212810" y="792955"/>
                  <a:pt x="11211897" y="791714"/>
                  <a:pt x="11211204" y="790181"/>
                </a:cubicBezTo>
                <a:cubicBezTo>
                  <a:pt x="11210510" y="788648"/>
                  <a:pt x="11210182" y="786823"/>
                  <a:pt x="11210182" y="784743"/>
                </a:cubicBezTo>
                <a:cubicBezTo>
                  <a:pt x="11210182" y="782553"/>
                  <a:pt x="11210839" y="780582"/>
                  <a:pt x="11212189" y="778830"/>
                </a:cubicBezTo>
                <a:cubicBezTo>
                  <a:pt x="11213503" y="777078"/>
                  <a:pt x="11215584" y="775581"/>
                  <a:pt x="11218357" y="774341"/>
                </a:cubicBezTo>
                <a:cubicBezTo>
                  <a:pt x="11221131" y="773063"/>
                  <a:pt x="11224672" y="772078"/>
                  <a:pt x="11228942" y="771348"/>
                </a:cubicBezTo>
                <a:cubicBezTo>
                  <a:pt x="11233212" y="770618"/>
                  <a:pt x="11238322" y="770143"/>
                  <a:pt x="11244271" y="769924"/>
                </a:cubicBezTo>
                <a:close/>
                <a:moveTo>
                  <a:pt x="11032215" y="769924"/>
                </a:moveTo>
                <a:lnTo>
                  <a:pt x="11032251" y="769924"/>
                </a:lnTo>
                <a:lnTo>
                  <a:pt x="11032251" y="786276"/>
                </a:lnTo>
                <a:cubicBezTo>
                  <a:pt x="11030791" y="787772"/>
                  <a:pt x="11029295" y="789195"/>
                  <a:pt x="11027799" y="790473"/>
                </a:cubicBezTo>
                <a:cubicBezTo>
                  <a:pt x="11026302" y="791787"/>
                  <a:pt x="11024696" y="792882"/>
                  <a:pt x="11022944" y="793831"/>
                </a:cubicBezTo>
                <a:cubicBezTo>
                  <a:pt x="11021192" y="794780"/>
                  <a:pt x="11019331" y="795510"/>
                  <a:pt x="11017287" y="796021"/>
                </a:cubicBezTo>
                <a:cubicBezTo>
                  <a:pt x="11015243" y="796532"/>
                  <a:pt x="11013017" y="796787"/>
                  <a:pt x="11010608" y="796787"/>
                </a:cubicBezTo>
                <a:cubicBezTo>
                  <a:pt x="11008965" y="796787"/>
                  <a:pt x="11007396" y="796568"/>
                  <a:pt x="11005899" y="796094"/>
                </a:cubicBezTo>
                <a:cubicBezTo>
                  <a:pt x="11004403" y="795656"/>
                  <a:pt x="11003053" y="794926"/>
                  <a:pt x="11001921" y="793940"/>
                </a:cubicBezTo>
                <a:cubicBezTo>
                  <a:pt x="11000753" y="792955"/>
                  <a:pt x="10999841" y="791714"/>
                  <a:pt x="10999147" y="790181"/>
                </a:cubicBezTo>
                <a:cubicBezTo>
                  <a:pt x="10998454" y="788648"/>
                  <a:pt x="10998125" y="786823"/>
                  <a:pt x="10998125" y="784743"/>
                </a:cubicBezTo>
                <a:cubicBezTo>
                  <a:pt x="10998125" y="782553"/>
                  <a:pt x="10998782" y="780582"/>
                  <a:pt x="11000133" y="778830"/>
                </a:cubicBezTo>
                <a:cubicBezTo>
                  <a:pt x="11001447" y="777078"/>
                  <a:pt x="11003527" y="775581"/>
                  <a:pt x="11006301" y="774341"/>
                </a:cubicBezTo>
                <a:cubicBezTo>
                  <a:pt x="11009075" y="773063"/>
                  <a:pt x="11012615" y="772078"/>
                  <a:pt x="11016886" y="771348"/>
                </a:cubicBezTo>
                <a:cubicBezTo>
                  <a:pt x="11021156" y="770618"/>
                  <a:pt x="11026266" y="770143"/>
                  <a:pt x="11032215" y="769924"/>
                </a:cubicBezTo>
                <a:close/>
                <a:moveTo>
                  <a:pt x="11363804" y="741310"/>
                </a:moveTo>
                <a:cubicBezTo>
                  <a:pt x="11367527" y="741310"/>
                  <a:pt x="11370812" y="742040"/>
                  <a:pt x="11373731" y="743500"/>
                </a:cubicBezTo>
                <a:cubicBezTo>
                  <a:pt x="11376615" y="744960"/>
                  <a:pt x="11379279" y="747478"/>
                  <a:pt x="11381652" y="751091"/>
                </a:cubicBezTo>
                <a:lnTo>
                  <a:pt x="11381688" y="751091"/>
                </a:lnTo>
                <a:lnTo>
                  <a:pt x="11381688" y="783904"/>
                </a:lnTo>
                <a:cubicBezTo>
                  <a:pt x="11379097" y="787772"/>
                  <a:pt x="11376104" y="790765"/>
                  <a:pt x="11372710" y="792882"/>
                </a:cubicBezTo>
                <a:cubicBezTo>
                  <a:pt x="11369315" y="795036"/>
                  <a:pt x="11365556" y="796094"/>
                  <a:pt x="11361468" y="796094"/>
                </a:cubicBezTo>
                <a:cubicBezTo>
                  <a:pt x="11355008" y="796094"/>
                  <a:pt x="11350080" y="793904"/>
                  <a:pt x="11346686" y="789524"/>
                </a:cubicBezTo>
                <a:cubicBezTo>
                  <a:pt x="11343292" y="785144"/>
                  <a:pt x="11341576" y="778319"/>
                  <a:pt x="11341576" y="769049"/>
                </a:cubicBezTo>
                <a:cubicBezTo>
                  <a:pt x="11341576" y="764961"/>
                  <a:pt x="11342051" y="761201"/>
                  <a:pt x="11343000" y="757807"/>
                </a:cubicBezTo>
                <a:cubicBezTo>
                  <a:pt x="11343949" y="754376"/>
                  <a:pt x="11345336" y="751456"/>
                  <a:pt x="11347197" y="749011"/>
                </a:cubicBezTo>
                <a:cubicBezTo>
                  <a:pt x="11349058" y="746565"/>
                  <a:pt x="11351358" y="744668"/>
                  <a:pt x="11354132" y="743317"/>
                </a:cubicBezTo>
                <a:cubicBezTo>
                  <a:pt x="11356906" y="741967"/>
                  <a:pt x="11360118" y="741310"/>
                  <a:pt x="11363804" y="741310"/>
                </a:cubicBezTo>
                <a:close/>
                <a:moveTo>
                  <a:pt x="11432604" y="741126"/>
                </a:moveTo>
                <a:cubicBezTo>
                  <a:pt x="11435451" y="741126"/>
                  <a:pt x="11438042" y="741601"/>
                  <a:pt x="11440415" y="742586"/>
                </a:cubicBezTo>
                <a:cubicBezTo>
                  <a:pt x="11442787" y="743572"/>
                  <a:pt x="11444831" y="744995"/>
                  <a:pt x="11446546" y="746820"/>
                </a:cubicBezTo>
                <a:cubicBezTo>
                  <a:pt x="11448262" y="748682"/>
                  <a:pt x="11449576" y="750908"/>
                  <a:pt x="11450525" y="753572"/>
                </a:cubicBezTo>
                <a:cubicBezTo>
                  <a:pt x="11451474" y="756237"/>
                  <a:pt x="11451948" y="759230"/>
                  <a:pt x="11451948" y="762587"/>
                </a:cubicBezTo>
                <a:lnTo>
                  <a:pt x="11410595" y="762587"/>
                </a:lnTo>
                <a:cubicBezTo>
                  <a:pt x="11410960" y="759339"/>
                  <a:pt x="11411727" y="756383"/>
                  <a:pt x="11412858" y="753755"/>
                </a:cubicBezTo>
                <a:cubicBezTo>
                  <a:pt x="11413990" y="751090"/>
                  <a:pt x="11415486" y="748864"/>
                  <a:pt x="11417347" y="746966"/>
                </a:cubicBezTo>
                <a:cubicBezTo>
                  <a:pt x="11419209" y="745068"/>
                  <a:pt x="11421399" y="743645"/>
                  <a:pt x="11423954" y="742623"/>
                </a:cubicBezTo>
                <a:cubicBezTo>
                  <a:pt x="11426509" y="741637"/>
                  <a:pt x="11429392" y="741126"/>
                  <a:pt x="11432604" y="741126"/>
                </a:cubicBezTo>
                <a:close/>
                <a:moveTo>
                  <a:pt x="11110139" y="741126"/>
                </a:moveTo>
                <a:cubicBezTo>
                  <a:pt x="11112986" y="741126"/>
                  <a:pt x="11115577" y="741601"/>
                  <a:pt x="11117950" y="742586"/>
                </a:cubicBezTo>
                <a:cubicBezTo>
                  <a:pt x="11120322" y="743572"/>
                  <a:pt x="11122366" y="744995"/>
                  <a:pt x="11124081" y="746820"/>
                </a:cubicBezTo>
                <a:cubicBezTo>
                  <a:pt x="11125797" y="748682"/>
                  <a:pt x="11127111" y="750908"/>
                  <a:pt x="11128060" y="753572"/>
                </a:cubicBezTo>
                <a:cubicBezTo>
                  <a:pt x="11129009" y="756237"/>
                  <a:pt x="11129483" y="759230"/>
                  <a:pt x="11129483" y="762587"/>
                </a:cubicBezTo>
                <a:lnTo>
                  <a:pt x="11088130" y="762587"/>
                </a:lnTo>
                <a:cubicBezTo>
                  <a:pt x="11088495" y="759339"/>
                  <a:pt x="11089262" y="756383"/>
                  <a:pt x="11090393" y="753755"/>
                </a:cubicBezTo>
                <a:cubicBezTo>
                  <a:pt x="11091525" y="751090"/>
                  <a:pt x="11093021" y="748864"/>
                  <a:pt x="11094882" y="746966"/>
                </a:cubicBezTo>
                <a:cubicBezTo>
                  <a:pt x="11096744" y="745068"/>
                  <a:pt x="11098934" y="743645"/>
                  <a:pt x="11101489" y="742623"/>
                </a:cubicBezTo>
                <a:cubicBezTo>
                  <a:pt x="11104044" y="741637"/>
                  <a:pt x="11106927" y="741126"/>
                  <a:pt x="11110139" y="741126"/>
                </a:cubicBezTo>
                <a:close/>
                <a:moveTo>
                  <a:pt x="11143791" y="737659"/>
                </a:moveTo>
                <a:lnTo>
                  <a:pt x="11165617" y="768135"/>
                </a:lnTo>
                <a:lnTo>
                  <a:pt x="11142915" y="800072"/>
                </a:lnTo>
                <a:lnTo>
                  <a:pt x="11148317" y="800072"/>
                </a:lnTo>
                <a:cubicBezTo>
                  <a:pt x="11148828" y="800072"/>
                  <a:pt x="11149229" y="799889"/>
                  <a:pt x="11149558" y="799561"/>
                </a:cubicBezTo>
                <a:cubicBezTo>
                  <a:pt x="11149886" y="799232"/>
                  <a:pt x="11150178" y="798867"/>
                  <a:pt x="11150470" y="798502"/>
                </a:cubicBezTo>
                <a:lnTo>
                  <a:pt x="11168537" y="773026"/>
                </a:lnTo>
                <a:cubicBezTo>
                  <a:pt x="11169011" y="772333"/>
                  <a:pt x="11169303" y="771603"/>
                  <a:pt x="11169486" y="770836"/>
                </a:cubicBezTo>
                <a:lnTo>
                  <a:pt x="11188429" y="798502"/>
                </a:lnTo>
                <a:cubicBezTo>
                  <a:pt x="11188611" y="798831"/>
                  <a:pt x="11188903" y="799159"/>
                  <a:pt x="11189232" y="799524"/>
                </a:cubicBezTo>
                <a:cubicBezTo>
                  <a:pt x="11189560" y="799889"/>
                  <a:pt x="11190035" y="800072"/>
                  <a:pt x="11190619" y="800072"/>
                </a:cubicBezTo>
                <a:lnTo>
                  <a:pt x="11196312" y="800072"/>
                </a:lnTo>
                <a:lnTo>
                  <a:pt x="11173647" y="767770"/>
                </a:lnTo>
                <a:lnTo>
                  <a:pt x="11195400" y="737659"/>
                </a:lnTo>
                <a:lnTo>
                  <a:pt x="11189925" y="737659"/>
                </a:lnTo>
                <a:cubicBezTo>
                  <a:pt x="11189451" y="737659"/>
                  <a:pt x="11189086" y="737768"/>
                  <a:pt x="11188794" y="738024"/>
                </a:cubicBezTo>
                <a:cubicBezTo>
                  <a:pt x="11188502" y="738279"/>
                  <a:pt x="11188246" y="738608"/>
                  <a:pt x="11187991" y="738973"/>
                </a:cubicBezTo>
                <a:lnTo>
                  <a:pt x="11170873" y="763135"/>
                </a:lnTo>
                <a:cubicBezTo>
                  <a:pt x="11170690" y="763500"/>
                  <a:pt x="11170471" y="763901"/>
                  <a:pt x="11170289" y="764266"/>
                </a:cubicBezTo>
                <a:cubicBezTo>
                  <a:pt x="11170106" y="764631"/>
                  <a:pt x="11169960" y="764996"/>
                  <a:pt x="11169887" y="765325"/>
                </a:cubicBezTo>
                <a:lnTo>
                  <a:pt x="11151565" y="738900"/>
                </a:lnTo>
                <a:cubicBezTo>
                  <a:pt x="11151346" y="738571"/>
                  <a:pt x="11151091" y="738279"/>
                  <a:pt x="11150799" y="738024"/>
                </a:cubicBezTo>
                <a:cubicBezTo>
                  <a:pt x="11150507" y="737768"/>
                  <a:pt x="11150069" y="737659"/>
                  <a:pt x="11149485" y="737659"/>
                </a:cubicBezTo>
                <a:close/>
                <a:moveTo>
                  <a:pt x="11432494" y="736710"/>
                </a:moveTo>
                <a:cubicBezTo>
                  <a:pt x="11428042" y="736710"/>
                  <a:pt x="11424100" y="737513"/>
                  <a:pt x="11420596" y="739046"/>
                </a:cubicBezTo>
                <a:cubicBezTo>
                  <a:pt x="11417128" y="740579"/>
                  <a:pt x="11414172" y="742732"/>
                  <a:pt x="11411763" y="745470"/>
                </a:cubicBezTo>
                <a:cubicBezTo>
                  <a:pt x="11409354" y="748207"/>
                  <a:pt x="11407529" y="751455"/>
                  <a:pt x="11406252" y="755251"/>
                </a:cubicBezTo>
                <a:cubicBezTo>
                  <a:pt x="11404974" y="759011"/>
                  <a:pt x="11404354" y="763135"/>
                  <a:pt x="11404354" y="767624"/>
                </a:cubicBezTo>
                <a:cubicBezTo>
                  <a:pt x="11404354" y="772953"/>
                  <a:pt x="11405047" y="777661"/>
                  <a:pt x="11406398" y="781786"/>
                </a:cubicBezTo>
                <a:cubicBezTo>
                  <a:pt x="11407748" y="785910"/>
                  <a:pt x="11409683" y="789377"/>
                  <a:pt x="11412201" y="792224"/>
                </a:cubicBezTo>
                <a:cubicBezTo>
                  <a:pt x="11414683" y="795071"/>
                  <a:pt x="11417676" y="797225"/>
                  <a:pt x="11421216" y="798721"/>
                </a:cubicBezTo>
                <a:cubicBezTo>
                  <a:pt x="11424757" y="800218"/>
                  <a:pt x="11428626" y="800947"/>
                  <a:pt x="11432896" y="800947"/>
                </a:cubicBezTo>
                <a:cubicBezTo>
                  <a:pt x="11435268" y="800947"/>
                  <a:pt x="11437568" y="800728"/>
                  <a:pt x="11439904" y="800254"/>
                </a:cubicBezTo>
                <a:cubicBezTo>
                  <a:pt x="11442239" y="799780"/>
                  <a:pt x="11444393" y="799159"/>
                  <a:pt x="11446437" y="798393"/>
                </a:cubicBezTo>
                <a:cubicBezTo>
                  <a:pt x="11448444" y="797626"/>
                  <a:pt x="11450306" y="796714"/>
                  <a:pt x="11451948" y="795619"/>
                </a:cubicBezTo>
                <a:cubicBezTo>
                  <a:pt x="11453591" y="794524"/>
                  <a:pt x="11454904" y="793356"/>
                  <a:pt x="11455926" y="792115"/>
                </a:cubicBezTo>
                <a:lnTo>
                  <a:pt x="11454284" y="790107"/>
                </a:lnTo>
                <a:cubicBezTo>
                  <a:pt x="11453992" y="789706"/>
                  <a:pt x="11453591" y="789487"/>
                  <a:pt x="11453043" y="789487"/>
                </a:cubicBezTo>
                <a:cubicBezTo>
                  <a:pt x="11452642" y="789487"/>
                  <a:pt x="11451948" y="789815"/>
                  <a:pt x="11451036" y="790509"/>
                </a:cubicBezTo>
                <a:cubicBezTo>
                  <a:pt x="11450123" y="791202"/>
                  <a:pt x="11448882" y="792005"/>
                  <a:pt x="11447313" y="792845"/>
                </a:cubicBezTo>
                <a:cubicBezTo>
                  <a:pt x="11445743" y="793721"/>
                  <a:pt x="11443809" y="794487"/>
                  <a:pt x="11441510" y="795181"/>
                </a:cubicBezTo>
                <a:cubicBezTo>
                  <a:pt x="11439210" y="795874"/>
                  <a:pt x="11436509" y="796203"/>
                  <a:pt x="11433370" y="796203"/>
                </a:cubicBezTo>
                <a:cubicBezTo>
                  <a:pt x="11429866" y="796203"/>
                  <a:pt x="11426691" y="795582"/>
                  <a:pt x="11423844" y="794378"/>
                </a:cubicBezTo>
                <a:cubicBezTo>
                  <a:pt x="11420997" y="793137"/>
                  <a:pt x="11418588" y="791348"/>
                  <a:pt x="11416581" y="788939"/>
                </a:cubicBezTo>
                <a:cubicBezTo>
                  <a:pt x="11414574" y="786531"/>
                  <a:pt x="11413041" y="783538"/>
                  <a:pt x="11411946" y="779997"/>
                </a:cubicBezTo>
                <a:cubicBezTo>
                  <a:pt x="11410851" y="776420"/>
                  <a:pt x="11410303" y="772296"/>
                  <a:pt x="11410303" y="767624"/>
                </a:cubicBezTo>
                <a:lnTo>
                  <a:pt x="11410303" y="766493"/>
                </a:lnTo>
                <a:lnTo>
                  <a:pt x="11455671" y="766493"/>
                </a:lnTo>
                <a:cubicBezTo>
                  <a:pt x="11456255" y="766493"/>
                  <a:pt x="11456656" y="766310"/>
                  <a:pt x="11456912" y="765982"/>
                </a:cubicBezTo>
                <a:cubicBezTo>
                  <a:pt x="11457167" y="765617"/>
                  <a:pt x="11457277" y="764996"/>
                  <a:pt x="11457277" y="764084"/>
                </a:cubicBezTo>
                <a:cubicBezTo>
                  <a:pt x="11457277" y="759668"/>
                  <a:pt x="11456656" y="755799"/>
                  <a:pt x="11455379" y="752404"/>
                </a:cubicBezTo>
                <a:cubicBezTo>
                  <a:pt x="11454102" y="749010"/>
                  <a:pt x="11452350" y="746163"/>
                  <a:pt x="11450123" y="743827"/>
                </a:cubicBezTo>
                <a:cubicBezTo>
                  <a:pt x="11447897" y="741528"/>
                  <a:pt x="11445269" y="739739"/>
                  <a:pt x="11442276" y="738535"/>
                </a:cubicBezTo>
                <a:cubicBezTo>
                  <a:pt x="11439283" y="737331"/>
                  <a:pt x="11435998" y="736710"/>
                  <a:pt x="11432494" y="736710"/>
                </a:cubicBezTo>
                <a:close/>
                <a:moveTo>
                  <a:pt x="11110029" y="736710"/>
                </a:moveTo>
                <a:cubicBezTo>
                  <a:pt x="11105577" y="736710"/>
                  <a:pt x="11101635" y="737513"/>
                  <a:pt x="11098131" y="739046"/>
                </a:cubicBezTo>
                <a:cubicBezTo>
                  <a:pt x="11094663" y="740579"/>
                  <a:pt x="11091707" y="742732"/>
                  <a:pt x="11089298" y="745470"/>
                </a:cubicBezTo>
                <a:cubicBezTo>
                  <a:pt x="11086889" y="748207"/>
                  <a:pt x="11085064" y="751455"/>
                  <a:pt x="11083787" y="755251"/>
                </a:cubicBezTo>
                <a:cubicBezTo>
                  <a:pt x="11082509" y="759011"/>
                  <a:pt x="11081889" y="763135"/>
                  <a:pt x="11081889" y="767624"/>
                </a:cubicBezTo>
                <a:cubicBezTo>
                  <a:pt x="11081889" y="772953"/>
                  <a:pt x="11082582" y="777661"/>
                  <a:pt x="11083933" y="781786"/>
                </a:cubicBezTo>
                <a:cubicBezTo>
                  <a:pt x="11085283" y="785910"/>
                  <a:pt x="11087218" y="789377"/>
                  <a:pt x="11089736" y="792224"/>
                </a:cubicBezTo>
                <a:cubicBezTo>
                  <a:pt x="11092218" y="795071"/>
                  <a:pt x="11095247" y="797225"/>
                  <a:pt x="11098751" y="798721"/>
                </a:cubicBezTo>
                <a:cubicBezTo>
                  <a:pt x="11102292" y="800218"/>
                  <a:pt x="11106161" y="800947"/>
                  <a:pt x="11110431" y="800947"/>
                </a:cubicBezTo>
                <a:cubicBezTo>
                  <a:pt x="11112803" y="800947"/>
                  <a:pt x="11115103" y="800728"/>
                  <a:pt x="11117439" y="800254"/>
                </a:cubicBezTo>
                <a:cubicBezTo>
                  <a:pt x="11119774" y="799780"/>
                  <a:pt x="11121928" y="799159"/>
                  <a:pt x="11123972" y="798393"/>
                </a:cubicBezTo>
                <a:cubicBezTo>
                  <a:pt x="11125979" y="797626"/>
                  <a:pt x="11127841" y="796714"/>
                  <a:pt x="11129483" y="795619"/>
                </a:cubicBezTo>
                <a:cubicBezTo>
                  <a:pt x="11131126" y="794524"/>
                  <a:pt x="11132439" y="793356"/>
                  <a:pt x="11133461" y="792115"/>
                </a:cubicBezTo>
                <a:lnTo>
                  <a:pt x="11131819" y="790107"/>
                </a:lnTo>
                <a:cubicBezTo>
                  <a:pt x="11131527" y="789706"/>
                  <a:pt x="11131126" y="789487"/>
                  <a:pt x="11130578" y="789487"/>
                </a:cubicBezTo>
                <a:cubicBezTo>
                  <a:pt x="11130177" y="789487"/>
                  <a:pt x="11129483" y="789815"/>
                  <a:pt x="11128571" y="790509"/>
                </a:cubicBezTo>
                <a:cubicBezTo>
                  <a:pt x="11127658" y="791202"/>
                  <a:pt x="11126417" y="792005"/>
                  <a:pt x="11124848" y="792845"/>
                </a:cubicBezTo>
                <a:cubicBezTo>
                  <a:pt x="11123278" y="793721"/>
                  <a:pt x="11121344" y="794487"/>
                  <a:pt x="11119045" y="795181"/>
                </a:cubicBezTo>
                <a:cubicBezTo>
                  <a:pt x="11116745" y="795874"/>
                  <a:pt x="11114044" y="796203"/>
                  <a:pt x="11110905" y="796203"/>
                </a:cubicBezTo>
                <a:cubicBezTo>
                  <a:pt x="11107401" y="796203"/>
                  <a:pt x="11104226" y="795582"/>
                  <a:pt x="11101379" y="794378"/>
                </a:cubicBezTo>
                <a:cubicBezTo>
                  <a:pt x="11098532" y="793137"/>
                  <a:pt x="11096123" y="791348"/>
                  <a:pt x="11094116" y="788939"/>
                </a:cubicBezTo>
                <a:cubicBezTo>
                  <a:pt x="11092109" y="786531"/>
                  <a:pt x="11090576" y="783538"/>
                  <a:pt x="11089481" y="779997"/>
                </a:cubicBezTo>
                <a:cubicBezTo>
                  <a:pt x="11088386" y="776420"/>
                  <a:pt x="11087838" y="772296"/>
                  <a:pt x="11087838" y="767624"/>
                </a:cubicBezTo>
                <a:lnTo>
                  <a:pt x="11087838" y="766493"/>
                </a:lnTo>
                <a:lnTo>
                  <a:pt x="11133206" y="766493"/>
                </a:lnTo>
                <a:cubicBezTo>
                  <a:pt x="11133790" y="766493"/>
                  <a:pt x="11134191" y="766310"/>
                  <a:pt x="11134447" y="765982"/>
                </a:cubicBezTo>
                <a:cubicBezTo>
                  <a:pt x="11134702" y="765617"/>
                  <a:pt x="11134812" y="764996"/>
                  <a:pt x="11134812" y="764084"/>
                </a:cubicBezTo>
                <a:cubicBezTo>
                  <a:pt x="11134812" y="759668"/>
                  <a:pt x="11134191" y="755799"/>
                  <a:pt x="11132914" y="752404"/>
                </a:cubicBezTo>
                <a:cubicBezTo>
                  <a:pt x="11131637" y="749010"/>
                  <a:pt x="11129885" y="746163"/>
                  <a:pt x="11127658" y="743827"/>
                </a:cubicBezTo>
                <a:cubicBezTo>
                  <a:pt x="11125432" y="741528"/>
                  <a:pt x="11122804" y="739739"/>
                  <a:pt x="11119811" y="738535"/>
                </a:cubicBezTo>
                <a:cubicBezTo>
                  <a:pt x="11116818" y="737331"/>
                  <a:pt x="11113533" y="736710"/>
                  <a:pt x="11110029" y="736710"/>
                </a:cubicBezTo>
                <a:close/>
                <a:moveTo>
                  <a:pt x="11298399" y="736674"/>
                </a:moveTo>
                <a:cubicBezTo>
                  <a:pt x="11293764" y="736674"/>
                  <a:pt x="11289566" y="737732"/>
                  <a:pt x="11285770" y="739922"/>
                </a:cubicBezTo>
                <a:cubicBezTo>
                  <a:pt x="11281975" y="742076"/>
                  <a:pt x="11278653" y="744959"/>
                  <a:pt x="11275770" y="748573"/>
                </a:cubicBezTo>
                <a:lnTo>
                  <a:pt x="11275222" y="739265"/>
                </a:lnTo>
                <a:cubicBezTo>
                  <a:pt x="11275040" y="738207"/>
                  <a:pt x="11274456" y="737696"/>
                  <a:pt x="11273397" y="737696"/>
                </a:cubicBezTo>
                <a:lnTo>
                  <a:pt x="11270076" y="737696"/>
                </a:lnTo>
                <a:lnTo>
                  <a:pt x="11270076" y="800109"/>
                </a:lnTo>
                <a:lnTo>
                  <a:pt x="11276062" y="800109"/>
                </a:lnTo>
                <a:lnTo>
                  <a:pt x="11276062" y="753171"/>
                </a:lnTo>
                <a:cubicBezTo>
                  <a:pt x="11278836" y="749485"/>
                  <a:pt x="11281975" y="746638"/>
                  <a:pt x="11285515" y="744558"/>
                </a:cubicBezTo>
                <a:cubicBezTo>
                  <a:pt x="11289055" y="742477"/>
                  <a:pt x="11292851" y="741455"/>
                  <a:pt x="11296902" y="741455"/>
                </a:cubicBezTo>
                <a:cubicBezTo>
                  <a:pt x="11302377" y="741455"/>
                  <a:pt x="11306465" y="743134"/>
                  <a:pt x="11309129" y="746456"/>
                </a:cubicBezTo>
                <a:cubicBezTo>
                  <a:pt x="11311794" y="749777"/>
                  <a:pt x="11313144" y="754376"/>
                  <a:pt x="11313144" y="760216"/>
                </a:cubicBezTo>
                <a:lnTo>
                  <a:pt x="11313144" y="800109"/>
                </a:lnTo>
                <a:lnTo>
                  <a:pt x="11319167" y="800109"/>
                </a:lnTo>
                <a:lnTo>
                  <a:pt x="11319167" y="760216"/>
                </a:lnTo>
                <a:cubicBezTo>
                  <a:pt x="11319167" y="756566"/>
                  <a:pt x="11318765" y="753317"/>
                  <a:pt x="11317853" y="750434"/>
                </a:cubicBezTo>
                <a:cubicBezTo>
                  <a:pt x="11316940" y="747551"/>
                  <a:pt x="11315663" y="745069"/>
                  <a:pt x="11313947" y="743025"/>
                </a:cubicBezTo>
                <a:cubicBezTo>
                  <a:pt x="11312232" y="740981"/>
                  <a:pt x="11310078" y="739411"/>
                  <a:pt x="11307451" y="738316"/>
                </a:cubicBezTo>
                <a:cubicBezTo>
                  <a:pt x="11304859" y="737221"/>
                  <a:pt x="11301830" y="736674"/>
                  <a:pt x="11298399" y="736674"/>
                </a:cubicBezTo>
                <a:close/>
                <a:moveTo>
                  <a:pt x="11498886" y="736637"/>
                </a:moveTo>
                <a:cubicBezTo>
                  <a:pt x="11496477" y="736637"/>
                  <a:pt x="11494250" y="737002"/>
                  <a:pt x="11492279" y="737732"/>
                </a:cubicBezTo>
                <a:cubicBezTo>
                  <a:pt x="11490272" y="738462"/>
                  <a:pt x="11488483" y="739520"/>
                  <a:pt x="11486877" y="740907"/>
                </a:cubicBezTo>
                <a:cubicBezTo>
                  <a:pt x="11485272" y="742258"/>
                  <a:pt x="11483848" y="743973"/>
                  <a:pt x="11482607" y="745944"/>
                </a:cubicBezTo>
                <a:cubicBezTo>
                  <a:pt x="11481366" y="747915"/>
                  <a:pt x="11480271" y="750178"/>
                  <a:pt x="11479322" y="752733"/>
                </a:cubicBezTo>
                <a:lnTo>
                  <a:pt x="11478848" y="739666"/>
                </a:lnTo>
                <a:cubicBezTo>
                  <a:pt x="11478775" y="738973"/>
                  <a:pt x="11478592" y="738462"/>
                  <a:pt x="11478300" y="738170"/>
                </a:cubicBezTo>
                <a:cubicBezTo>
                  <a:pt x="11478008" y="737878"/>
                  <a:pt x="11477497" y="737732"/>
                  <a:pt x="11476804" y="737732"/>
                </a:cubicBezTo>
                <a:lnTo>
                  <a:pt x="11473592" y="737732"/>
                </a:lnTo>
                <a:lnTo>
                  <a:pt x="11473592" y="800145"/>
                </a:lnTo>
                <a:lnTo>
                  <a:pt x="11479614" y="800145"/>
                </a:lnTo>
                <a:lnTo>
                  <a:pt x="11479614" y="759741"/>
                </a:lnTo>
                <a:cubicBezTo>
                  <a:pt x="11480527" y="756930"/>
                  <a:pt x="11481549" y="754448"/>
                  <a:pt x="11482644" y="752295"/>
                </a:cubicBezTo>
                <a:cubicBezTo>
                  <a:pt x="11483775" y="750141"/>
                  <a:pt x="11485053" y="748317"/>
                  <a:pt x="11486549" y="746857"/>
                </a:cubicBezTo>
                <a:cubicBezTo>
                  <a:pt x="11488009" y="745397"/>
                  <a:pt x="11489688" y="744302"/>
                  <a:pt x="11491549" y="743572"/>
                </a:cubicBezTo>
                <a:cubicBezTo>
                  <a:pt x="11493411" y="742842"/>
                  <a:pt x="11495564" y="742477"/>
                  <a:pt x="11497973" y="742477"/>
                </a:cubicBezTo>
                <a:cubicBezTo>
                  <a:pt x="11499652" y="742477"/>
                  <a:pt x="11501002" y="742623"/>
                  <a:pt x="11502024" y="742915"/>
                </a:cubicBezTo>
                <a:cubicBezTo>
                  <a:pt x="11503046" y="743207"/>
                  <a:pt x="11503813" y="743353"/>
                  <a:pt x="11504324" y="743353"/>
                </a:cubicBezTo>
                <a:cubicBezTo>
                  <a:pt x="11504908" y="743353"/>
                  <a:pt x="11505309" y="742988"/>
                  <a:pt x="11505528" y="742331"/>
                </a:cubicBezTo>
                <a:lnTo>
                  <a:pt x="11506039" y="738206"/>
                </a:lnTo>
                <a:cubicBezTo>
                  <a:pt x="11505090" y="737586"/>
                  <a:pt x="11503959" y="737184"/>
                  <a:pt x="11502718" y="736965"/>
                </a:cubicBezTo>
                <a:cubicBezTo>
                  <a:pt x="11501440" y="736747"/>
                  <a:pt x="11500163" y="736637"/>
                  <a:pt x="11498886" y="736637"/>
                </a:cubicBezTo>
                <a:close/>
                <a:moveTo>
                  <a:pt x="11230110" y="736601"/>
                </a:moveTo>
                <a:cubicBezTo>
                  <a:pt x="11225548" y="736601"/>
                  <a:pt x="11221496" y="737440"/>
                  <a:pt x="11217883" y="739119"/>
                </a:cubicBezTo>
                <a:cubicBezTo>
                  <a:pt x="11214270" y="740798"/>
                  <a:pt x="11210839" y="743280"/>
                  <a:pt x="11207590" y="746529"/>
                </a:cubicBezTo>
                <a:lnTo>
                  <a:pt x="11208649" y="748354"/>
                </a:lnTo>
                <a:cubicBezTo>
                  <a:pt x="11208868" y="748682"/>
                  <a:pt x="11209123" y="748937"/>
                  <a:pt x="11209415" y="749157"/>
                </a:cubicBezTo>
                <a:cubicBezTo>
                  <a:pt x="11209707" y="749375"/>
                  <a:pt x="11210072" y="749485"/>
                  <a:pt x="11210547" y="749485"/>
                </a:cubicBezTo>
                <a:cubicBezTo>
                  <a:pt x="11211204" y="749485"/>
                  <a:pt x="11211970" y="749083"/>
                  <a:pt x="11212883" y="748244"/>
                </a:cubicBezTo>
                <a:cubicBezTo>
                  <a:pt x="11213795" y="747405"/>
                  <a:pt x="11215000" y="746492"/>
                  <a:pt x="11216460" y="745470"/>
                </a:cubicBezTo>
                <a:cubicBezTo>
                  <a:pt x="11217919" y="744448"/>
                  <a:pt x="11219708" y="743536"/>
                  <a:pt x="11221825" y="742696"/>
                </a:cubicBezTo>
                <a:cubicBezTo>
                  <a:pt x="11223942" y="741857"/>
                  <a:pt x="11226533" y="741455"/>
                  <a:pt x="11229526" y="741455"/>
                </a:cubicBezTo>
                <a:cubicBezTo>
                  <a:pt x="11234417" y="741455"/>
                  <a:pt x="11238103" y="743025"/>
                  <a:pt x="11240585" y="746127"/>
                </a:cubicBezTo>
                <a:cubicBezTo>
                  <a:pt x="11243067" y="749229"/>
                  <a:pt x="11244308" y="753682"/>
                  <a:pt x="11244308" y="759449"/>
                </a:cubicBezTo>
                <a:lnTo>
                  <a:pt x="11244308" y="765982"/>
                </a:lnTo>
                <a:cubicBezTo>
                  <a:pt x="11237227" y="766128"/>
                  <a:pt x="11231168" y="766712"/>
                  <a:pt x="11226132" y="767734"/>
                </a:cubicBezTo>
                <a:cubicBezTo>
                  <a:pt x="11221095" y="768756"/>
                  <a:pt x="11216971" y="770070"/>
                  <a:pt x="11213759" y="771749"/>
                </a:cubicBezTo>
                <a:cubicBezTo>
                  <a:pt x="11210547" y="773428"/>
                  <a:pt x="11208174" y="775399"/>
                  <a:pt x="11206678" y="777662"/>
                </a:cubicBezTo>
                <a:cubicBezTo>
                  <a:pt x="11205181" y="779925"/>
                  <a:pt x="11204415" y="782370"/>
                  <a:pt x="11204415" y="784998"/>
                </a:cubicBezTo>
                <a:cubicBezTo>
                  <a:pt x="11204415" y="787845"/>
                  <a:pt x="11204889" y="790254"/>
                  <a:pt x="11205838" y="792298"/>
                </a:cubicBezTo>
                <a:cubicBezTo>
                  <a:pt x="11206787" y="794342"/>
                  <a:pt x="11208028" y="796021"/>
                  <a:pt x="11209598" y="797298"/>
                </a:cubicBezTo>
                <a:cubicBezTo>
                  <a:pt x="11211167" y="798576"/>
                  <a:pt x="11212956" y="799561"/>
                  <a:pt x="11214963" y="800181"/>
                </a:cubicBezTo>
                <a:cubicBezTo>
                  <a:pt x="11216971" y="800802"/>
                  <a:pt x="11219051" y="801130"/>
                  <a:pt x="11221168" y="801130"/>
                </a:cubicBezTo>
                <a:cubicBezTo>
                  <a:pt x="11223686" y="801130"/>
                  <a:pt x="11226059" y="800838"/>
                  <a:pt x="11228176" y="800364"/>
                </a:cubicBezTo>
                <a:cubicBezTo>
                  <a:pt x="11230292" y="799890"/>
                  <a:pt x="11232300" y="799160"/>
                  <a:pt x="11234125" y="798247"/>
                </a:cubicBezTo>
                <a:cubicBezTo>
                  <a:pt x="11235950" y="797335"/>
                  <a:pt x="11237738" y="796203"/>
                  <a:pt x="11239417" y="794853"/>
                </a:cubicBezTo>
                <a:cubicBezTo>
                  <a:pt x="11241096" y="793502"/>
                  <a:pt x="11242811" y="792006"/>
                  <a:pt x="11244527" y="790327"/>
                </a:cubicBezTo>
                <a:lnTo>
                  <a:pt x="11245403" y="798357"/>
                </a:lnTo>
                <a:cubicBezTo>
                  <a:pt x="11245695" y="799525"/>
                  <a:pt x="11246498" y="800109"/>
                  <a:pt x="11247739" y="800109"/>
                </a:cubicBezTo>
                <a:lnTo>
                  <a:pt x="11250111" y="800109"/>
                </a:lnTo>
                <a:lnTo>
                  <a:pt x="11250111" y="759449"/>
                </a:lnTo>
                <a:cubicBezTo>
                  <a:pt x="11250111" y="755982"/>
                  <a:pt x="11249710" y="752806"/>
                  <a:pt x="11248870" y="749996"/>
                </a:cubicBezTo>
                <a:cubicBezTo>
                  <a:pt x="11248031" y="747149"/>
                  <a:pt x="11246790" y="744740"/>
                  <a:pt x="11245147" y="742769"/>
                </a:cubicBezTo>
                <a:cubicBezTo>
                  <a:pt x="11243505" y="740798"/>
                  <a:pt x="11241425" y="739265"/>
                  <a:pt x="11238906" y="738207"/>
                </a:cubicBezTo>
                <a:cubicBezTo>
                  <a:pt x="11236388" y="737148"/>
                  <a:pt x="11233468" y="736601"/>
                  <a:pt x="11230110" y="736601"/>
                </a:cubicBezTo>
                <a:close/>
                <a:moveTo>
                  <a:pt x="11018017" y="736601"/>
                </a:moveTo>
                <a:cubicBezTo>
                  <a:pt x="11013455" y="736601"/>
                  <a:pt x="11009403" y="737440"/>
                  <a:pt x="11005790" y="739119"/>
                </a:cubicBezTo>
                <a:cubicBezTo>
                  <a:pt x="11002177" y="740798"/>
                  <a:pt x="10998746" y="743280"/>
                  <a:pt x="10995497" y="746529"/>
                </a:cubicBezTo>
                <a:lnTo>
                  <a:pt x="10996556" y="748354"/>
                </a:lnTo>
                <a:cubicBezTo>
                  <a:pt x="10996775" y="748682"/>
                  <a:pt x="10997030" y="748937"/>
                  <a:pt x="10997322" y="749157"/>
                </a:cubicBezTo>
                <a:cubicBezTo>
                  <a:pt x="10997614" y="749375"/>
                  <a:pt x="10997979" y="749485"/>
                  <a:pt x="10998454" y="749485"/>
                </a:cubicBezTo>
                <a:cubicBezTo>
                  <a:pt x="10999111" y="749485"/>
                  <a:pt x="10999877" y="749083"/>
                  <a:pt x="11000790" y="748244"/>
                </a:cubicBezTo>
                <a:cubicBezTo>
                  <a:pt x="11001702" y="747405"/>
                  <a:pt x="11002907" y="746492"/>
                  <a:pt x="11004367" y="745470"/>
                </a:cubicBezTo>
                <a:cubicBezTo>
                  <a:pt x="11005826" y="744448"/>
                  <a:pt x="11007615" y="743536"/>
                  <a:pt x="11009732" y="742696"/>
                </a:cubicBezTo>
                <a:cubicBezTo>
                  <a:pt x="11011849" y="741857"/>
                  <a:pt x="11014440" y="741455"/>
                  <a:pt x="11017433" y="741455"/>
                </a:cubicBezTo>
                <a:cubicBezTo>
                  <a:pt x="11022324" y="741455"/>
                  <a:pt x="11026010" y="743025"/>
                  <a:pt x="11028492" y="746127"/>
                </a:cubicBezTo>
                <a:cubicBezTo>
                  <a:pt x="11030974" y="749229"/>
                  <a:pt x="11032215" y="753682"/>
                  <a:pt x="11032215" y="759449"/>
                </a:cubicBezTo>
                <a:lnTo>
                  <a:pt x="11032215" y="765982"/>
                </a:lnTo>
                <a:cubicBezTo>
                  <a:pt x="11025134" y="766128"/>
                  <a:pt x="11019075" y="766712"/>
                  <a:pt x="11014039" y="767734"/>
                </a:cubicBezTo>
                <a:cubicBezTo>
                  <a:pt x="11009002" y="768756"/>
                  <a:pt x="11004878" y="770070"/>
                  <a:pt x="11001666" y="771749"/>
                </a:cubicBezTo>
                <a:cubicBezTo>
                  <a:pt x="10998454" y="773428"/>
                  <a:pt x="10996081" y="775399"/>
                  <a:pt x="10994585" y="777662"/>
                </a:cubicBezTo>
                <a:cubicBezTo>
                  <a:pt x="10993088" y="779925"/>
                  <a:pt x="10992322" y="782370"/>
                  <a:pt x="10992322" y="784998"/>
                </a:cubicBezTo>
                <a:cubicBezTo>
                  <a:pt x="10992322" y="787845"/>
                  <a:pt x="10992796" y="790254"/>
                  <a:pt x="10993745" y="792298"/>
                </a:cubicBezTo>
                <a:cubicBezTo>
                  <a:pt x="10994694" y="794342"/>
                  <a:pt x="10995935" y="796021"/>
                  <a:pt x="10997505" y="797298"/>
                </a:cubicBezTo>
                <a:cubicBezTo>
                  <a:pt x="10999074" y="798576"/>
                  <a:pt x="11000863" y="799561"/>
                  <a:pt x="11002870" y="800181"/>
                </a:cubicBezTo>
                <a:cubicBezTo>
                  <a:pt x="11004878" y="800802"/>
                  <a:pt x="11006958" y="801130"/>
                  <a:pt x="11009075" y="801130"/>
                </a:cubicBezTo>
                <a:cubicBezTo>
                  <a:pt x="11011593" y="801130"/>
                  <a:pt x="11013966" y="800838"/>
                  <a:pt x="11016083" y="800364"/>
                </a:cubicBezTo>
                <a:cubicBezTo>
                  <a:pt x="11018199" y="799890"/>
                  <a:pt x="11020207" y="799160"/>
                  <a:pt x="11022032" y="798247"/>
                </a:cubicBezTo>
                <a:cubicBezTo>
                  <a:pt x="11023857" y="797335"/>
                  <a:pt x="11025645" y="796203"/>
                  <a:pt x="11027324" y="794853"/>
                </a:cubicBezTo>
                <a:cubicBezTo>
                  <a:pt x="11029003" y="793502"/>
                  <a:pt x="11030718" y="792006"/>
                  <a:pt x="11032434" y="790327"/>
                </a:cubicBezTo>
                <a:lnTo>
                  <a:pt x="11033310" y="798357"/>
                </a:lnTo>
                <a:cubicBezTo>
                  <a:pt x="11033602" y="799525"/>
                  <a:pt x="11034405" y="800109"/>
                  <a:pt x="11035646" y="800109"/>
                </a:cubicBezTo>
                <a:lnTo>
                  <a:pt x="11038018" y="800109"/>
                </a:lnTo>
                <a:lnTo>
                  <a:pt x="11038018" y="759449"/>
                </a:lnTo>
                <a:cubicBezTo>
                  <a:pt x="11038018" y="755982"/>
                  <a:pt x="11037617" y="752806"/>
                  <a:pt x="11036777" y="749996"/>
                </a:cubicBezTo>
                <a:cubicBezTo>
                  <a:pt x="11035938" y="747149"/>
                  <a:pt x="11034697" y="744740"/>
                  <a:pt x="11033054" y="742769"/>
                </a:cubicBezTo>
                <a:cubicBezTo>
                  <a:pt x="11031412" y="740798"/>
                  <a:pt x="11029332" y="739265"/>
                  <a:pt x="11026813" y="738207"/>
                </a:cubicBezTo>
                <a:cubicBezTo>
                  <a:pt x="11024295" y="737148"/>
                  <a:pt x="11021375" y="736601"/>
                  <a:pt x="11018017" y="736601"/>
                </a:cubicBezTo>
                <a:close/>
                <a:moveTo>
                  <a:pt x="11832117" y="734703"/>
                </a:moveTo>
                <a:cubicBezTo>
                  <a:pt x="11830219" y="734703"/>
                  <a:pt x="11828430" y="734922"/>
                  <a:pt x="11826824" y="735360"/>
                </a:cubicBezTo>
                <a:cubicBezTo>
                  <a:pt x="11825219" y="735798"/>
                  <a:pt x="11823686" y="736382"/>
                  <a:pt x="11822299" y="737148"/>
                </a:cubicBezTo>
                <a:cubicBezTo>
                  <a:pt x="11820912" y="737915"/>
                  <a:pt x="11819598" y="738791"/>
                  <a:pt x="11818357" y="739849"/>
                </a:cubicBezTo>
                <a:cubicBezTo>
                  <a:pt x="11817116" y="740908"/>
                  <a:pt x="11815948" y="742076"/>
                  <a:pt x="11814816" y="743317"/>
                </a:cubicBezTo>
                <a:lnTo>
                  <a:pt x="11813794" y="738535"/>
                </a:lnTo>
                <a:cubicBezTo>
                  <a:pt x="11813174" y="736674"/>
                  <a:pt x="11811860" y="735725"/>
                  <a:pt x="11809853" y="735725"/>
                </a:cubicBezTo>
                <a:lnTo>
                  <a:pt x="11800363" y="735725"/>
                </a:lnTo>
                <a:lnTo>
                  <a:pt x="11800363" y="800072"/>
                </a:lnTo>
                <a:lnTo>
                  <a:pt x="11800363" y="800181"/>
                </a:lnTo>
                <a:lnTo>
                  <a:pt x="11815911" y="800181"/>
                </a:lnTo>
                <a:lnTo>
                  <a:pt x="11815911" y="753062"/>
                </a:lnTo>
                <a:cubicBezTo>
                  <a:pt x="11817590" y="751127"/>
                  <a:pt x="11819415" y="749594"/>
                  <a:pt x="11821350" y="748499"/>
                </a:cubicBezTo>
                <a:cubicBezTo>
                  <a:pt x="11823321" y="747368"/>
                  <a:pt x="11825401" y="746821"/>
                  <a:pt x="11827664" y="746821"/>
                </a:cubicBezTo>
                <a:cubicBezTo>
                  <a:pt x="11831022" y="746821"/>
                  <a:pt x="11833540" y="747806"/>
                  <a:pt x="11835292" y="749777"/>
                </a:cubicBezTo>
                <a:cubicBezTo>
                  <a:pt x="11837008" y="751748"/>
                  <a:pt x="11837884" y="754887"/>
                  <a:pt x="11837884" y="759194"/>
                </a:cubicBezTo>
                <a:lnTo>
                  <a:pt x="11837884" y="800145"/>
                </a:lnTo>
                <a:lnTo>
                  <a:pt x="11853432" y="800145"/>
                </a:lnTo>
                <a:lnTo>
                  <a:pt x="11853432" y="759194"/>
                </a:lnTo>
                <a:cubicBezTo>
                  <a:pt x="11853432" y="757186"/>
                  <a:pt x="11853724" y="755398"/>
                  <a:pt x="11854308" y="753865"/>
                </a:cubicBezTo>
                <a:cubicBezTo>
                  <a:pt x="11854892" y="752295"/>
                  <a:pt x="11855695" y="751018"/>
                  <a:pt x="11856717" y="749996"/>
                </a:cubicBezTo>
                <a:cubicBezTo>
                  <a:pt x="11857739" y="748974"/>
                  <a:pt x="11858943" y="748207"/>
                  <a:pt x="11860294" y="747660"/>
                </a:cubicBezTo>
                <a:cubicBezTo>
                  <a:pt x="11861644" y="747113"/>
                  <a:pt x="11863104" y="746857"/>
                  <a:pt x="11864710" y="746857"/>
                </a:cubicBezTo>
                <a:cubicBezTo>
                  <a:pt x="11868214" y="746857"/>
                  <a:pt x="11870842" y="747879"/>
                  <a:pt x="11872630" y="749959"/>
                </a:cubicBezTo>
                <a:cubicBezTo>
                  <a:pt x="11874419" y="752003"/>
                  <a:pt x="11875331" y="755106"/>
                  <a:pt x="11875331" y="759194"/>
                </a:cubicBezTo>
                <a:lnTo>
                  <a:pt x="11875331" y="800145"/>
                </a:lnTo>
                <a:lnTo>
                  <a:pt x="11890806" y="800145"/>
                </a:lnTo>
                <a:lnTo>
                  <a:pt x="11890806" y="759194"/>
                </a:lnTo>
                <a:cubicBezTo>
                  <a:pt x="11890806" y="755288"/>
                  <a:pt x="11890332" y="751821"/>
                  <a:pt x="11889346" y="748828"/>
                </a:cubicBezTo>
                <a:cubicBezTo>
                  <a:pt x="11888361" y="745799"/>
                  <a:pt x="11886938" y="743244"/>
                  <a:pt x="11885040" y="741163"/>
                </a:cubicBezTo>
                <a:cubicBezTo>
                  <a:pt x="11883142" y="739046"/>
                  <a:pt x="11880842" y="737477"/>
                  <a:pt x="11878068" y="736382"/>
                </a:cubicBezTo>
                <a:cubicBezTo>
                  <a:pt x="11875295" y="735287"/>
                  <a:pt x="11872119" y="734740"/>
                  <a:pt x="11868579" y="734740"/>
                </a:cubicBezTo>
                <a:cubicBezTo>
                  <a:pt x="11866498" y="734740"/>
                  <a:pt x="11864491" y="734959"/>
                  <a:pt x="11862447" y="735433"/>
                </a:cubicBezTo>
                <a:cubicBezTo>
                  <a:pt x="11860440" y="735871"/>
                  <a:pt x="11858505" y="736601"/>
                  <a:pt x="11856717" y="737550"/>
                </a:cubicBezTo>
                <a:cubicBezTo>
                  <a:pt x="11854892" y="738499"/>
                  <a:pt x="11853249" y="739740"/>
                  <a:pt x="11851753" y="741273"/>
                </a:cubicBezTo>
                <a:cubicBezTo>
                  <a:pt x="11850257" y="742769"/>
                  <a:pt x="11849016" y="744631"/>
                  <a:pt x="11847994" y="746748"/>
                </a:cubicBezTo>
                <a:cubicBezTo>
                  <a:pt x="11846680" y="743098"/>
                  <a:pt x="11844745" y="740178"/>
                  <a:pt x="11842117" y="737988"/>
                </a:cubicBezTo>
                <a:cubicBezTo>
                  <a:pt x="11839490" y="735798"/>
                  <a:pt x="11836168" y="734703"/>
                  <a:pt x="11832117" y="734703"/>
                </a:cubicBezTo>
                <a:close/>
                <a:moveTo>
                  <a:pt x="11727038" y="734703"/>
                </a:moveTo>
                <a:cubicBezTo>
                  <a:pt x="11725140" y="734703"/>
                  <a:pt x="11723351" y="734922"/>
                  <a:pt x="11721745" y="735360"/>
                </a:cubicBezTo>
                <a:cubicBezTo>
                  <a:pt x="11720140" y="735798"/>
                  <a:pt x="11718607" y="736382"/>
                  <a:pt x="11717220" y="737148"/>
                </a:cubicBezTo>
                <a:cubicBezTo>
                  <a:pt x="11715833" y="737915"/>
                  <a:pt x="11714519" y="738791"/>
                  <a:pt x="11713278" y="739849"/>
                </a:cubicBezTo>
                <a:cubicBezTo>
                  <a:pt x="11712037" y="740908"/>
                  <a:pt x="11710869" y="742076"/>
                  <a:pt x="11709737" y="743317"/>
                </a:cubicBezTo>
                <a:lnTo>
                  <a:pt x="11708715" y="738535"/>
                </a:lnTo>
                <a:cubicBezTo>
                  <a:pt x="11708095" y="736674"/>
                  <a:pt x="11706781" y="735725"/>
                  <a:pt x="11704774" y="735725"/>
                </a:cubicBezTo>
                <a:lnTo>
                  <a:pt x="11695284" y="735725"/>
                </a:lnTo>
                <a:lnTo>
                  <a:pt x="11695284" y="800072"/>
                </a:lnTo>
                <a:lnTo>
                  <a:pt x="11695284" y="800181"/>
                </a:lnTo>
                <a:lnTo>
                  <a:pt x="11710832" y="800181"/>
                </a:lnTo>
                <a:lnTo>
                  <a:pt x="11710832" y="753062"/>
                </a:lnTo>
                <a:cubicBezTo>
                  <a:pt x="11712511" y="751127"/>
                  <a:pt x="11714336" y="749594"/>
                  <a:pt x="11716271" y="748499"/>
                </a:cubicBezTo>
                <a:cubicBezTo>
                  <a:pt x="11718242" y="747368"/>
                  <a:pt x="11720322" y="746821"/>
                  <a:pt x="11722585" y="746821"/>
                </a:cubicBezTo>
                <a:cubicBezTo>
                  <a:pt x="11725943" y="746821"/>
                  <a:pt x="11728461" y="747806"/>
                  <a:pt x="11730213" y="749777"/>
                </a:cubicBezTo>
                <a:cubicBezTo>
                  <a:pt x="11731929" y="751748"/>
                  <a:pt x="11732805" y="754887"/>
                  <a:pt x="11732805" y="759194"/>
                </a:cubicBezTo>
                <a:lnTo>
                  <a:pt x="11732805" y="800145"/>
                </a:lnTo>
                <a:lnTo>
                  <a:pt x="11748353" y="800145"/>
                </a:lnTo>
                <a:lnTo>
                  <a:pt x="11748353" y="759194"/>
                </a:lnTo>
                <a:cubicBezTo>
                  <a:pt x="11748353" y="757186"/>
                  <a:pt x="11748645" y="755398"/>
                  <a:pt x="11749229" y="753865"/>
                </a:cubicBezTo>
                <a:cubicBezTo>
                  <a:pt x="11749813" y="752295"/>
                  <a:pt x="11750616" y="751018"/>
                  <a:pt x="11751638" y="749996"/>
                </a:cubicBezTo>
                <a:cubicBezTo>
                  <a:pt x="11752660" y="748974"/>
                  <a:pt x="11753864" y="748207"/>
                  <a:pt x="11755215" y="747660"/>
                </a:cubicBezTo>
                <a:cubicBezTo>
                  <a:pt x="11756565" y="747113"/>
                  <a:pt x="11758025" y="746857"/>
                  <a:pt x="11759631" y="746857"/>
                </a:cubicBezTo>
                <a:cubicBezTo>
                  <a:pt x="11763135" y="746857"/>
                  <a:pt x="11765763" y="747879"/>
                  <a:pt x="11767551" y="749959"/>
                </a:cubicBezTo>
                <a:cubicBezTo>
                  <a:pt x="11769340" y="752003"/>
                  <a:pt x="11770252" y="755106"/>
                  <a:pt x="11770252" y="759194"/>
                </a:cubicBezTo>
                <a:lnTo>
                  <a:pt x="11770252" y="800145"/>
                </a:lnTo>
                <a:lnTo>
                  <a:pt x="11785727" y="800145"/>
                </a:lnTo>
                <a:lnTo>
                  <a:pt x="11785727" y="759194"/>
                </a:lnTo>
                <a:cubicBezTo>
                  <a:pt x="11785727" y="755288"/>
                  <a:pt x="11785253" y="751821"/>
                  <a:pt x="11784267" y="748828"/>
                </a:cubicBezTo>
                <a:cubicBezTo>
                  <a:pt x="11783282" y="745799"/>
                  <a:pt x="11781859" y="743244"/>
                  <a:pt x="11779961" y="741163"/>
                </a:cubicBezTo>
                <a:cubicBezTo>
                  <a:pt x="11778063" y="739046"/>
                  <a:pt x="11775763" y="737477"/>
                  <a:pt x="11772989" y="736382"/>
                </a:cubicBezTo>
                <a:cubicBezTo>
                  <a:pt x="11770216" y="735287"/>
                  <a:pt x="11767040" y="734740"/>
                  <a:pt x="11763500" y="734740"/>
                </a:cubicBezTo>
                <a:cubicBezTo>
                  <a:pt x="11761419" y="734740"/>
                  <a:pt x="11759412" y="734959"/>
                  <a:pt x="11757368" y="735433"/>
                </a:cubicBezTo>
                <a:cubicBezTo>
                  <a:pt x="11755361" y="735871"/>
                  <a:pt x="11753426" y="736601"/>
                  <a:pt x="11751638" y="737550"/>
                </a:cubicBezTo>
                <a:cubicBezTo>
                  <a:pt x="11749813" y="738499"/>
                  <a:pt x="11748170" y="739740"/>
                  <a:pt x="11746674" y="741273"/>
                </a:cubicBezTo>
                <a:cubicBezTo>
                  <a:pt x="11745178" y="742769"/>
                  <a:pt x="11743937" y="744631"/>
                  <a:pt x="11742915" y="746748"/>
                </a:cubicBezTo>
                <a:cubicBezTo>
                  <a:pt x="11741601" y="743098"/>
                  <a:pt x="11739666" y="740178"/>
                  <a:pt x="11737038" y="737988"/>
                </a:cubicBezTo>
                <a:cubicBezTo>
                  <a:pt x="11734410" y="735798"/>
                  <a:pt x="11731089" y="734703"/>
                  <a:pt x="11727038" y="734703"/>
                </a:cubicBezTo>
                <a:close/>
                <a:moveTo>
                  <a:pt x="11656814" y="734557"/>
                </a:moveTo>
                <a:cubicBezTo>
                  <a:pt x="11646412" y="734557"/>
                  <a:pt x="11637507" y="737915"/>
                  <a:pt x="11630097" y="744704"/>
                </a:cubicBezTo>
                <a:lnTo>
                  <a:pt x="11632725" y="749740"/>
                </a:lnTo>
                <a:cubicBezTo>
                  <a:pt x="11633200" y="750470"/>
                  <a:pt x="11633784" y="751164"/>
                  <a:pt x="11634550" y="751711"/>
                </a:cubicBezTo>
                <a:cubicBezTo>
                  <a:pt x="11635317" y="752259"/>
                  <a:pt x="11636229" y="752551"/>
                  <a:pt x="11637324" y="752551"/>
                </a:cubicBezTo>
                <a:cubicBezTo>
                  <a:pt x="11638602" y="752551"/>
                  <a:pt x="11639733" y="752259"/>
                  <a:pt x="11640755" y="751675"/>
                </a:cubicBezTo>
                <a:cubicBezTo>
                  <a:pt x="11641777" y="751091"/>
                  <a:pt x="11642945" y="750434"/>
                  <a:pt x="11644186" y="749704"/>
                </a:cubicBezTo>
                <a:cubicBezTo>
                  <a:pt x="11645427" y="748974"/>
                  <a:pt x="11646887" y="748317"/>
                  <a:pt x="11648529" y="747733"/>
                </a:cubicBezTo>
                <a:cubicBezTo>
                  <a:pt x="11650172" y="747149"/>
                  <a:pt x="11652252" y="746857"/>
                  <a:pt x="11654770" y="746857"/>
                </a:cubicBezTo>
                <a:cubicBezTo>
                  <a:pt x="11658238" y="746857"/>
                  <a:pt x="11660902" y="747879"/>
                  <a:pt x="11662727" y="749959"/>
                </a:cubicBezTo>
                <a:cubicBezTo>
                  <a:pt x="11664588" y="752040"/>
                  <a:pt x="11665501" y="755215"/>
                  <a:pt x="11665501" y="759522"/>
                </a:cubicBezTo>
                <a:lnTo>
                  <a:pt x="11665501" y="763281"/>
                </a:lnTo>
                <a:cubicBezTo>
                  <a:pt x="11660610" y="763391"/>
                  <a:pt x="11656267" y="763756"/>
                  <a:pt x="11652471" y="764376"/>
                </a:cubicBezTo>
                <a:cubicBezTo>
                  <a:pt x="11648675" y="764960"/>
                  <a:pt x="11645317" y="765763"/>
                  <a:pt x="11642470" y="766712"/>
                </a:cubicBezTo>
                <a:cubicBezTo>
                  <a:pt x="11639623" y="767698"/>
                  <a:pt x="11637215" y="768829"/>
                  <a:pt x="11635244" y="770107"/>
                </a:cubicBezTo>
                <a:cubicBezTo>
                  <a:pt x="11633309" y="771384"/>
                  <a:pt x="11631703" y="772771"/>
                  <a:pt x="11630462" y="774231"/>
                </a:cubicBezTo>
                <a:cubicBezTo>
                  <a:pt x="11629221" y="775691"/>
                  <a:pt x="11628345" y="777224"/>
                  <a:pt x="11627798" y="778830"/>
                </a:cubicBezTo>
                <a:cubicBezTo>
                  <a:pt x="11627250" y="780436"/>
                  <a:pt x="11626995" y="782042"/>
                  <a:pt x="11626995" y="783684"/>
                </a:cubicBezTo>
                <a:cubicBezTo>
                  <a:pt x="11626995" y="786567"/>
                  <a:pt x="11627469" y="789086"/>
                  <a:pt x="11628382" y="791276"/>
                </a:cubicBezTo>
                <a:cubicBezTo>
                  <a:pt x="11629331" y="793466"/>
                  <a:pt x="11630608" y="795291"/>
                  <a:pt x="11632287" y="796751"/>
                </a:cubicBezTo>
                <a:cubicBezTo>
                  <a:pt x="11633966" y="798210"/>
                  <a:pt x="11635937" y="799305"/>
                  <a:pt x="11638237" y="800035"/>
                </a:cubicBezTo>
                <a:cubicBezTo>
                  <a:pt x="11640536" y="800765"/>
                  <a:pt x="11643054" y="801130"/>
                  <a:pt x="11645755" y="801130"/>
                </a:cubicBezTo>
                <a:cubicBezTo>
                  <a:pt x="11648055" y="801130"/>
                  <a:pt x="11650172" y="800948"/>
                  <a:pt x="11652070" y="800546"/>
                </a:cubicBezTo>
                <a:cubicBezTo>
                  <a:pt x="11653967" y="800145"/>
                  <a:pt x="11655756" y="799597"/>
                  <a:pt x="11657435" y="798831"/>
                </a:cubicBezTo>
                <a:cubicBezTo>
                  <a:pt x="11659077" y="798101"/>
                  <a:pt x="11660720" y="797152"/>
                  <a:pt x="11662253" y="796057"/>
                </a:cubicBezTo>
                <a:cubicBezTo>
                  <a:pt x="11663822" y="794926"/>
                  <a:pt x="11665392" y="793648"/>
                  <a:pt x="11667034" y="792188"/>
                </a:cubicBezTo>
                <a:lnTo>
                  <a:pt x="11668421" y="796824"/>
                </a:lnTo>
                <a:cubicBezTo>
                  <a:pt x="11668895" y="798174"/>
                  <a:pt x="11669516" y="799050"/>
                  <a:pt x="11670319" y="799488"/>
                </a:cubicBezTo>
                <a:cubicBezTo>
                  <a:pt x="11671122" y="799926"/>
                  <a:pt x="11672253" y="800145"/>
                  <a:pt x="11673713" y="800145"/>
                </a:cubicBezTo>
                <a:lnTo>
                  <a:pt x="11680721" y="800145"/>
                </a:lnTo>
                <a:lnTo>
                  <a:pt x="11680721" y="759485"/>
                </a:lnTo>
                <a:cubicBezTo>
                  <a:pt x="11680721" y="755836"/>
                  <a:pt x="11680173" y="752514"/>
                  <a:pt x="11679115" y="749448"/>
                </a:cubicBezTo>
                <a:cubicBezTo>
                  <a:pt x="11678056" y="746383"/>
                  <a:pt x="11676487" y="743755"/>
                  <a:pt x="11674443" y="741565"/>
                </a:cubicBezTo>
                <a:cubicBezTo>
                  <a:pt x="11672399" y="739375"/>
                  <a:pt x="11669881" y="737659"/>
                  <a:pt x="11666924" y="736418"/>
                </a:cubicBezTo>
                <a:cubicBezTo>
                  <a:pt x="11663932" y="735177"/>
                  <a:pt x="11660574" y="734557"/>
                  <a:pt x="11656814" y="734557"/>
                </a:cubicBezTo>
                <a:close/>
                <a:moveTo>
                  <a:pt x="11525784" y="716089"/>
                </a:moveTo>
                <a:cubicBezTo>
                  <a:pt x="11524872" y="716089"/>
                  <a:pt x="11524105" y="716308"/>
                  <a:pt x="11523521" y="716782"/>
                </a:cubicBezTo>
                <a:cubicBezTo>
                  <a:pt x="11522937" y="717220"/>
                  <a:pt x="11522536" y="717877"/>
                  <a:pt x="11522317" y="718717"/>
                </a:cubicBezTo>
                <a:lnTo>
                  <a:pt x="11519069" y="736273"/>
                </a:lnTo>
                <a:lnTo>
                  <a:pt x="11508703" y="737952"/>
                </a:lnTo>
                <a:lnTo>
                  <a:pt x="11508703" y="744083"/>
                </a:lnTo>
                <a:cubicBezTo>
                  <a:pt x="11508703" y="745178"/>
                  <a:pt x="11508995" y="745981"/>
                  <a:pt x="11509579" y="746529"/>
                </a:cubicBezTo>
                <a:cubicBezTo>
                  <a:pt x="11510163" y="747076"/>
                  <a:pt x="11510856" y="747332"/>
                  <a:pt x="11511696" y="747332"/>
                </a:cubicBezTo>
                <a:lnTo>
                  <a:pt x="11518266" y="747332"/>
                </a:lnTo>
                <a:lnTo>
                  <a:pt x="11518266" y="783283"/>
                </a:lnTo>
                <a:cubicBezTo>
                  <a:pt x="11518266" y="788831"/>
                  <a:pt x="11519762" y="793210"/>
                  <a:pt x="11522755" y="796349"/>
                </a:cubicBezTo>
                <a:cubicBezTo>
                  <a:pt x="11525748" y="799525"/>
                  <a:pt x="11530018" y="801094"/>
                  <a:pt x="11535639" y="801094"/>
                </a:cubicBezTo>
                <a:cubicBezTo>
                  <a:pt x="11538778" y="801094"/>
                  <a:pt x="11541807" y="800620"/>
                  <a:pt x="11544764" y="799671"/>
                </a:cubicBezTo>
                <a:cubicBezTo>
                  <a:pt x="11547683" y="798722"/>
                  <a:pt x="11550275" y="797298"/>
                  <a:pt x="11552538" y="795400"/>
                </a:cubicBezTo>
                <a:lnTo>
                  <a:pt x="11547902" y="787882"/>
                </a:lnTo>
                <a:cubicBezTo>
                  <a:pt x="11547574" y="787444"/>
                  <a:pt x="11547245" y="787079"/>
                  <a:pt x="11546953" y="786860"/>
                </a:cubicBezTo>
                <a:cubicBezTo>
                  <a:pt x="11546661" y="786641"/>
                  <a:pt x="11546297" y="786531"/>
                  <a:pt x="11545822" y="786531"/>
                </a:cubicBezTo>
                <a:cubicBezTo>
                  <a:pt x="11545457" y="786531"/>
                  <a:pt x="11545056" y="786641"/>
                  <a:pt x="11544691" y="786860"/>
                </a:cubicBezTo>
                <a:cubicBezTo>
                  <a:pt x="11544326" y="787115"/>
                  <a:pt x="11543888" y="787334"/>
                  <a:pt x="11543413" y="787590"/>
                </a:cubicBezTo>
                <a:cubicBezTo>
                  <a:pt x="11542939" y="787845"/>
                  <a:pt x="11542391" y="788101"/>
                  <a:pt x="11541734" y="788320"/>
                </a:cubicBezTo>
                <a:cubicBezTo>
                  <a:pt x="11541077" y="788539"/>
                  <a:pt x="11540274" y="788648"/>
                  <a:pt x="11539325" y="788648"/>
                </a:cubicBezTo>
                <a:cubicBezTo>
                  <a:pt x="11537610" y="788648"/>
                  <a:pt x="11536259" y="788101"/>
                  <a:pt x="11535274" y="786969"/>
                </a:cubicBezTo>
                <a:cubicBezTo>
                  <a:pt x="11534288" y="785838"/>
                  <a:pt x="11533814" y="784268"/>
                  <a:pt x="11533814" y="782261"/>
                </a:cubicBezTo>
                <a:lnTo>
                  <a:pt x="11533814" y="747368"/>
                </a:lnTo>
                <a:lnTo>
                  <a:pt x="11551005" y="747368"/>
                </a:lnTo>
                <a:lnTo>
                  <a:pt x="11551005" y="736346"/>
                </a:lnTo>
                <a:lnTo>
                  <a:pt x="11533814" y="736346"/>
                </a:lnTo>
                <a:lnTo>
                  <a:pt x="11533814" y="716089"/>
                </a:lnTo>
                <a:close/>
                <a:moveTo>
                  <a:pt x="11381688" y="708826"/>
                </a:moveTo>
                <a:lnTo>
                  <a:pt x="11381688" y="745836"/>
                </a:lnTo>
                <a:cubicBezTo>
                  <a:pt x="11379389" y="742770"/>
                  <a:pt x="11376688" y="740470"/>
                  <a:pt x="11373585" y="738937"/>
                </a:cubicBezTo>
                <a:cubicBezTo>
                  <a:pt x="11370483" y="737368"/>
                  <a:pt x="11366833" y="736601"/>
                  <a:pt x="11362599" y="736601"/>
                </a:cubicBezTo>
                <a:cubicBezTo>
                  <a:pt x="11358183" y="736601"/>
                  <a:pt x="11354314" y="737441"/>
                  <a:pt x="11350956" y="739120"/>
                </a:cubicBezTo>
                <a:cubicBezTo>
                  <a:pt x="11347599" y="740799"/>
                  <a:pt x="11344752" y="743062"/>
                  <a:pt x="11342452" y="745982"/>
                </a:cubicBezTo>
                <a:cubicBezTo>
                  <a:pt x="11340116" y="748901"/>
                  <a:pt x="11338401" y="752296"/>
                  <a:pt x="11337196" y="756274"/>
                </a:cubicBezTo>
                <a:cubicBezTo>
                  <a:pt x="11335992" y="760252"/>
                  <a:pt x="11335408" y="764486"/>
                  <a:pt x="11335408" y="769049"/>
                </a:cubicBezTo>
                <a:cubicBezTo>
                  <a:pt x="11335408" y="779670"/>
                  <a:pt x="11337525" y="787663"/>
                  <a:pt x="11341795" y="792955"/>
                </a:cubicBezTo>
                <a:cubicBezTo>
                  <a:pt x="11346066" y="798247"/>
                  <a:pt x="11352051" y="800912"/>
                  <a:pt x="11359753" y="800912"/>
                </a:cubicBezTo>
                <a:cubicBezTo>
                  <a:pt x="11364351" y="800912"/>
                  <a:pt x="11368476" y="799817"/>
                  <a:pt x="11372162" y="797591"/>
                </a:cubicBezTo>
                <a:cubicBezTo>
                  <a:pt x="11375848" y="795364"/>
                  <a:pt x="11379060" y="792371"/>
                  <a:pt x="11381834" y="788612"/>
                </a:cubicBezTo>
                <a:lnTo>
                  <a:pt x="11382455" y="798466"/>
                </a:lnTo>
                <a:cubicBezTo>
                  <a:pt x="11382637" y="799561"/>
                  <a:pt x="11383258" y="800109"/>
                  <a:pt x="11384353" y="800109"/>
                </a:cubicBezTo>
                <a:lnTo>
                  <a:pt x="11387601" y="800109"/>
                </a:lnTo>
                <a:lnTo>
                  <a:pt x="11387601" y="708826"/>
                </a:lnTo>
                <a:close/>
                <a:moveTo>
                  <a:pt x="11058530" y="708826"/>
                </a:moveTo>
                <a:lnTo>
                  <a:pt x="11058530" y="800109"/>
                </a:lnTo>
                <a:lnTo>
                  <a:pt x="11064552" y="800109"/>
                </a:lnTo>
                <a:lnTo>
                  <a:pt x="11064552" y="708826"/>
                </a:lnTo>
                <a:close/>
                <a:moveTo>
                  <a:pt x="11560896" y="706855"/>
                </a:moveTo>
                <a:lnTo>
                  <a:pt x="11560896" y="800072"/>
                </a:lnTo>
                <a:lnTo>
                  <a:pt x="11576371" y="800072"/>
                </a:lnTo>
                <a:lnTo>
                  <a:pt x="11576371" y="753537"/>
                </a:lnTo>
                <a:cubicBezTo>
                  <a:pt x="11578452" y="751420"/>
                  <a:pt x="11580678" y="749777"/>
                  <a:pt x="11583014" y="748573"/>
                </a:cubicBezTo>
                <a:cubicBezTo>
                  <a:pt x="11585350" y="747368"/>
                  <a:pt x="11587868" y="746748"/>
                  <a:pt x="11590533" y="746748"/>
                </a:cubicBezTo>
                <a:cubicBezTo>
                  <a:pt x="11594219" y="746748"/>
                  <a:pt x="11596957" y="747843"/>
                  <a:pt x="11598745" y="749996"/>
                </a:cubicBezTo>
                <a:cubicBezTo>
                  <a:pt x="11600533" y="752150"/>
                  <a:pt x="11601446" y="755179"/>
                  <a:pt x="11601446" y="759121"/>
                </a:cubicBezTo>
                <a:lnTo>
                  <a:pt x="11601446" y="800072"/>
                </a:lnTo>
                <a:lnTo>
                  <a:pt x="11616921" y="800072"/>
                </a:lnTo>
                <a:lnTo>
                  <a:pt x="11616921" y="759121"/>
                </a:lnTo>
                <a:cubicBezTo>
                  <a:pt x="11616921" y="755508"/>
                  <a:pt x="11616447" y="752223"/>
                  <a:pt x="11615498" y="749230"/>
                </a:cubicBezTo>
                <a:cubicBezTo>
                  <a:pt x="11614585" y="746237"/>
                  <a:pt x="11613198" y="743682"/>
                  <a:pt x="11611373" y="741529"/>
                </a:cubicBezTo>
                <a:cubicBezTo>
                  <a:pt x="11609585" y="739375"/>
                  <a:pt x="11607286" y="737733"/>
                  <a:pt x="11604585" y="736528"/>
                </a:cubicBezTo>
                <a:cubicBezTo>
                  <a:pt x="11601884" y="735324"/>
                  <a:pt x="11598745" y="734740"/>
                  <a:pt x="11595241" y="734740"/>
                </a:cubicBezTo>
                <a:cubicBezTo>
                  <a:pt x="11591190" y="734740"/>
                  <a:pt x="11587649" y="735470"/>
                  <a:pt x="11584657" y="736930"/>
                </a:cubicBezTo>
                <a:cubicBezTo>
                  <a:pt x="11581627" y="738390"/>
                  <a:pt x="11578890" y="740288"/>
                  <a:pt x="11576371" y="742624"/>
                </a:cubicBezTo>
                <a:lnTo>
                  <a:pt x="11576371" y="706855"/>
                </a:lnTo>
                <a:close/>
                <a:moveTo>
                  <a:pt x="11321539" y="434247"/>
                </a:moveTo>
                <a:lnTo>
                  <a:pt x="11348438" y="434247"/>
                </a:lnTo>
                <a:lnTo>
                  <a:pt x="11348438" y="438846"/>
                </a:lnTo>
                <a:cubicBezTo>
                  <a:pt x="11348438" y="462825"/>
                  <a:pt x="11343548" y="481513"/>
                  <a:pt x="11333730" y="494871"/>
                </a:cubicBezTo>
                <a:cubicBezTo>
                  <a:pt x="11323911" y="508230"/>
                  <a:pt x="11310115" y="514909"/>
                  <a:pt x="11292340" y="514909"/>
                </a:cubicBezTo>
                <a:cubicBezTo>
                  <a:pt x="11280515" y="514909"/>
                  <a:pt x="11271171" y="511478"/>
                  <a:pt x="11264273" y="504616"/>
                </a:cubicBezTo>
                <a:cubicBezTo>
                  <a:pt x="11257375" y="497718"/>
                  <a:pt x="11253907" y="488484"/>
                  <a:pt x="11253907" y="476877"/>
                </a:cubicBezTo>
                <a:cubicBezTo>
                  <a:pt x="11253907" y="461292"/>
                  <a:pt x="11258907" y="450306"/>
                  <a:pt x="11268872" y="443883"/>
                </a:cubicBezTo>
                <a:cubicBezTo>
                  <a:pt x="11278836" y="437459"/>
                  <a:pt x="11296391" y="434247"/>
                  <a:pt x="11321539" y="434247"/>
                </a:cubicBezTo>
                <a:close/>
                <a:moveTo>
                  <a:pt x="11301684" y="291866"/>
                </a:moveTo>
                <a:cubicBezTo>
                  <a:pt x="11284566" y="291866"/>
                  <a:pt x="11268361" y="293289"/>
                  <a:pt x="11253068" y="296209"/>
                </a:cubicBezTo>
                <a:cubicBezTo>
                  <a:pt x="11237775" y="299129"/>
                  <a:pt x="11222701" y="303619"/>
                  <a:pt x="11207882" y="309750"/>
                </a:cubicBezTo>
                <a:lnTo>
                  <a:pt x="11207882" y="367053"/>
                </a:lnTo>
                <a:cubicBezTo>
                  <a:pt x="11224270" y="358147"/>
                  <a:pt x="11239965" y="351651"/>
                  <a:pt x="11255039" y="347599"/>
                </a:cubicBezTo>
                <a:cubicBezTo>
                  <a:pt x="11270113" y="343548"/>
                  <a:pt x="11285661" y="341504"/>
                  <a:pt x="11301720" y="341504"/>
                </a:cubicBezTo>
                <a:cubicBezTo>
                  <a:pt x="11317050" y="341504"/>
                  <a:pt x="11328693" y="344314"/>
                  <a:pt x="11336576" y="349899"/>
                </a:cubicBezTo>
                <a:cubicBezTo>
                  <a:pt x="11344497" y="355483"/>
                  <a:pt x="11348438" y="363695"/>
                  <a:pt x="11348438" y="374572"/>
                </a:cubicBezTo>
                <a:lnTo>
                  <a:pt x="11348438" y="385667"/>
                </a:lnTo>
                <a:lnTo>
                  <a:pt x="11301757" y="385667"/>
                </a:lnTo>
                <a:cubicBezTo>
                  <a:pt x="11261061" y="385667"/>
                  <a:pt x="11230986" y="392785"/>
                  <a:pt x="11211532" y="407128"/>
                </a:cubicBezTo>
                <a:cubicBezTo>
                  <a:pt x="11192079" y="421472"/>
                  <a:pt x="11182370" y="443627"/>
                  <a:pt x="11182370" y="473629"/>
                </a:cubicBezTo>
                <a:cubicBezTo>
                  <a:pt x="11182370" y="501368"/>
                  <a:pt x="11190509" y="522975"/>
                  <a:pt x="11206824" y="538414"/>
                </a:cubicBezTo>
                <a:cubicBezTo>
                  <a:pt x="11223139" y="553853"/>
                  <a:pt x="11245914" y="561590"/>
                  <a:pt x="11275149" y="561590"/>
                </a:cubicBezTo>
                <a:cubicBezTo>
                  <a:pt x="11290479" y="561590"/>
                  <a:pt x="11304494" y="558525"/>
                  <a:pt x="11317196" y="552393"/>
                </a:cubicBezTo>
                <a:cubicBezTo>
                  <a:pt x="11329897" y="546261"/>
                  <a:pt x="11340336" y="537538"/>
                  <a:pt x="11348438" y="526187"/>
                </a:cubicBezTo>
                <a:lnTo>
                  <a:pt x="11348438" y="555021"/>
                </a:lnTo>
                <a:lnTo>
                  <a:pt x="11415231" y="555021"/>
                </a:lnTo>
                <a:lnTo>
                  <a:pt x="11415231" y="408223"/>
                </a:lnTo>
                <a:cubicBezTo>
                  <a:pt x="11415231" y="364571"/>
                  <a:pt x="11406763" y="334277"/>
                  <a:pt x="11389791" y="317306"/>
                </a:cubicBezTo>
                <a:cubicBezTo>
                  <a:pt x="11372856" y="300334"/>
                  <a:pt x="11343475" y="291866"/>
                  <a:pt x="11301684" y="291866"/>
                </a:cubicBezTo>
                <a:close/>
                <a:moveTo>
                  <a:pt x="11492899" y="225110"/>
                </a:moveTo>
                <a:lnTo>
                  <a:pt x="11492899" y="298107"/>
                </a:lnTo>
                <a:lnTo>
                  <a:pt x="11427202" y="298107"/>
                </a:lnTo>
                <a:lnTo>
                  <a:pt x="11427202" y="349935"/>
                </a:lnTo>
                <a:lnTo>
                  <a:pt x="11492899" y="349935"/>
                </a:lnTo>
                <a:lnTo>
                  <a:pt x="11492899" y="467971"/>
                </a:lnTo>
                <a:cubicBezTo>
                  <a:pt x="11492899" y="501368"/>
                  <a:pt x="11499688" y="524216"/>
                  <a:pt x="11513302" y="536552"/>
                </a:cubicBezTo>
                <a:cubicBezTo>
                  <a:pt x="11526916" y="548889"/>
                  <a:pt x="11552976" y="555057"/>
                  <a:pt x="11591518" y="555057"/>
                </a:cubicBezTo>
                <a:lnTo>
                  <a:pt x="11648018" y="555057"/>
                </a:lnTo>
                <a:lnTo>
                  <a:pt x="11648018" y="503229"/>
                </a:lnTo>
                <a:lnTo>
                  <a:pt x="11596336" y="503229"/>
                </a:lnTo>
                <a:cubicBezTo>
                  <a:pt x="11583306" y="503229"/>
                  <a:pt x="11573999" y="500747"/>
                  <a:pt x="11568415" y="495783"/>
                </a:cubicBezTo>
                <a:cubicBezTo>
                  <a:pt x="11562831" y="490820"/>
                  <a:pt x="11560020" y="482607"/>
                  <a:pt x="11560020" y="471183"/>
                </a:cubicBezTo>
                <a:lnTo>
                  <a:pt x="11560020" y="349935"/>
                </a:lnTo>
                <a:lnTo>
                  <a:pt x="11647982" y="349935"/>
                </a:lnTo>
                <a:lnTo>
                  <a:pt x="11647982" y="298107"/>
                </a:lnTo>
                <a:lnTo>
                  <a:pt x="11560020" y="298107"/>
                </a:lnTo>
                <a:lnTo>
                  <a:pt x="11560020" y="225110"/>
                </a:lnTo>
                <a:close/>
                <a:moveTo>
                  <a:pt x="11773427" y="198101"/>
                </a:moveTo>
                <a:lnTo>
                  <a:pt x="11773427" y="241534"/>
                </a:lnTo>
                <a:lnTo>
                  <a:pt x="11828905" y="241534"/>
                </a:lnTo>
                <a:lnTo>
                  <a:pt x="11828905" y="573671"/>
                </a:lnTo>
                <a:lnTo>
                  <a:pt x="11773427" y="573671"/>
                </a:lnTo>
                <a:lnTo>
                  <a:pt x="11773427" y="617105"/>
                </a:lnTo>
                <a:lnTo>
                  <a:pt x="11889857" y="617105"/>
                </a:lnTo>
                <a:lnTo>
                  <a:pt x="11889857" y="198101"/>
                </a:lnTo>
                <a:close/>
                <a:moveTo>
                  <a:pt x="10990132" y="197736"/>
                </a:moveTo>
                <a:lnTo>
                  <a:pt x="10990132" y="617105"/>
                </a:lnTo>
                <a:lnTo>
                  <a:pt x="11106635" y="617105"/>
                </a:lnTo>
                <a:lnTo>
                  <a:pt x="11106635" y="573671"/>
                </a:lnTo>
                <a:lnTo>
                  <a:pt x="11051085" y="573671"/>
                </a:lnTo>
                <a:lnTo>
                  <a:pt x="11051085" y="241169"/>
                </a:lnTo>
                <a:lnTo>
                  <a:pt x="11106635" y="241169"/>
                </a:lnTo>
                <a:lnTo>
                  <a:pt x="11106635" y="19773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2880000">
            <a:noAutofit/>
          </a:bodyPr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Actiontitle">
            <a:extLst>
              <a:ext uri="{FF2B5EF4-FFF2-40B4-BE49-F238E27FC236}">
                <a16:creationId xmlns:a16="http://schemas.microsoft.com/office/drawing/2014/main" id="{4B1D909E-EB51-44D0-B78E-1F879A59FD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70603" y="4669200"/>
            <a:ext cx="2221397" cy="322515"/>
          </a:xfrm>
          <a:solidFill>
            <a:schemeClr val="accent1"/>
          </a:solidFill>
        </p:spPr>
        <p:txBody>
          <a:bodyPr wrap="none" lIns="108000" tIns="36000" rIns="270000" bIns="36000" anchor="ctr">
            <a:spAutoFit/>
          </a:bodyPr>
          <a:lstStyle>
            <a:lvl1pPr algn="r"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/>
              <a:t>Actiontitle </a:t>
            </a: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0BE372D3-E2D7-4CA3-BD28-8BE170783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2783" y="3823200"/>
            <a:ext cx="8669217" cy="737501"/>
          </a:xfrm>
        </p:spPr>
        <p:txBody>
          <a:bodyPr lIns="108000" rIns="270000"/>
          <a:lstStyle>
            <a:lvl1pPr algn="r">
              <a:defRPr sz="48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C13FDBA-BB18-4C7B-A850-8CD1720A89E9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10.10.202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58585662-B21C-4B5B-AE43-1848FFCC62C8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2"/>
            </p:custDataLst>
          </p:nvPr>
        </p:nvSpPr>
        <p:spPr/>
        <p:txBody>
          <a:bodyPr/>
          <a:lstStyle/>
          <a:p>
            <a:endParaRPr lang="de-DE">
              <a:noFill/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F3F836D3-0F4E-4BDF-9055-D936A7BA23CE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42A0C3C-A441-4C3F-B9F1-793D433CF6FE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4867980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ctiontitle">
            <a:extLst>
              <a:ext uri="{FF2B5EF4-FFF2-40B4-BE49-F238E27FC236}">
                <a16:creationId xmlns:a16="http://schemas.microsoft.com/office/drawing/2014/main" id="{4B1D909E-EB51-44D0-B78E-1F879A59FD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49302"/>
            <a:ext cx="2239572" cy="322515"/>
          </a:xfrm>
          <a:solidFill>
            <a:schemeClr val="accent1"/>
          </a:solidFill>
        </p:spPr>
        <p:txBody>
          <a:bodyPr wrap="none" lIns="270000" tIns="36000" rIns="108000" bIns="36000" anchor="ctr">
            <a:spAutoFit/>
          </a:bodyPr>
          <a:lstStyle>
            <a:lvl1pPr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/>
              <a:t>Actiontitle </a:t>
            </a: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0BE372D3-E2D7-4CA3-BD28-8BE170783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6800"/>
            <a:ext cx="5214538" cy="460502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27CD6B3-785C-4A97-A872-B705C1A10F24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10.10.2023</a:t>
            </a:fld>
            <a:endParaRPr lang="de-DE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6741E95-D6CA-43E1-AC58-350E218CEF4A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/>
          <a:p>
            <a:endParaRPr lang="de-DE">
              <a:noFill/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E937D85-CEB1-4E38-94F1-BBA06617EBE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/>
              <a:pPr/>
              <a:t>‹Nr.›</a:t>
            </a:fld>
            <a:endParaRPr lang="de-DE" sz="800"/>
          </a:p>
        </p:txBody>
      </p:sp>
    </p:spTree>
    <p:extLst>
      <p:ext uri="{BB962C8B-B14F-4D97-AF65-F5344CB8AC3E}">
        <p14:creationId xmlns:p14="http://schemas.microsoft.com/office/powerpoint/2010/main" val="304032882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  <p15:guide id="3" orient="horz" pos="1071">
          <p15:clr>
            <a:srgbClr val="FBAE40"/>
          </p15:clr>
        </p15:guide>
        <p15:guide id="4" orient="horz" pos="397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">
            <a:extLst>
              <a:ext uri="{FF2B5EF4-FFF2-40B4-BE49-F238E27FC236}">
                <a16:creationId xmlns:a16="http://schemas.microsoft.com/office/drawing/2014/main" id="{400F6426-82D2-4016-9F0A-BEB75B7E04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Actiontitle">
            <a:extLst>
              <a:ext uri="{FF2B5EF4-FFF2-40B4-BE49-F238E27FC236}">
                <a16:creationId xmlns:a16="http://schemas.microsoft.com/office/drawing/2014/main" id="{F83A1AE1-33B3-4213-9566-A0A233D89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49302"/>
            <a:ext cx="2239572" cy="322515"/>
          </a:xfrm>
          <a:solidFill>
            <a:schemeClr val="accent1"/>
          </a:solidFill>
        </p:spPr>
        <p:txBody>
          <a:bodyPr wrap="none" lIns="270000" tIns="36000" rIns="108000" bIns="36000" anchor="ctr">
            <a:spAutoFit/>
          </a:bodyPr>
          <a:lstStyle>
            <a:lvl1pPr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/>
              <a:t>Actiontitle </a:t>
            </a: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10" name="Titel">
            <a:extLst>
              <a:ext uri="{FF2B5EF4-FFF2-40B4-BE49-F238E27FC236}">
                <a16:creationId xmlns:a16="http://schemas.microsoft.com/office/drawing/2014/main" id="{7EB430FC-C02D-428A-AC50-84D2AE996F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D2FD96BB-3C2C-4CBC-A0A9-9601633176AE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10.10.2023</a:t>
            </a:fld>
            <a:endParaRPr lang="de-DE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2577F115-EFEE-4A67-B586-3447A74F6E46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/>
          <a:p>
            <a:endParaRPr lang="de-DE">
              <a:noFill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4CB2F50-A4B7-4505-A5C9-AE2A51EC1C9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/>
              <a:pPr/>
              <a:t>‹Nr.›</a:t>
            </a:fld>
            <a:endParaRPr lang="de-DE" sz="800"/>
          </a:p>
        </p:txBody>
      </p:sp>
    </p:spTree>
    <p:extLst>
      <p:ext uri="{BB962C8B-B14F-4D97-AF65-F5344CB8AC3E}">
        <p14:creationId xmlns:p14="http://schemas.microsoft.com/office/powerpoint/2010/main" val="101986495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  <p15:guide id="2" orient="horz" pos="3974">
          <p15:clr>
            <a:srgbClr val="FBAE40"/>
          </p15:clr>
        </p15:guide>
        <p15:guide id="3" pos="7242">
          <p15:clr>
            <a:srgbClr val="FBAE40"/>
          </p15:clr>
        </p15:guide>
        <p15:guide id="4" pos="43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rechts">
            <a:extLst>
              <a:ext uri="{FF2B5EF4-FFF2-40B4-BE49-F238E27FC236}">
                <a16:creationId xmlns:a16="http://schemas.microsoft.com/office/drawing/2014/main" id="{4B3455CC-9729-43F2-B7A9-58983CAD1F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7799" y="1699200"/>
            <a:ext cx="4968875" cy="4608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links">
            <a:extLst>
              <a:ext uri="{FF2B5EF4-FFF2-40B4-BE49-F238E27FC236}">
                <a16:creationId xmlns:a16="http://schemas.microsoft.com/office/drawing/2014/main" id="{54AE7FEE-F4AD-4F7D-A4E8-CB8FBC12A1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94800" y="1699200"/>
            <a:ext cx="4968000" cy="4608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Actiontitle">
            <a:extLst>
              <a:ext uri="{FF2B5EF4-FFF2-40B4-BE49-F238E27FC236}">
                <a16:creationId xmlns:a16="http://schemas.microsoft.com/office/drawing/2014/main" id="{4ACF9611-25B7-4924-B15F-5C4541413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49302"/>
            <a:ext cx="2239572" cy="322515"/>
          </a:xfrm>
          <a:solidFill>
            <a:schemeClr val="accent1"/>
          </a:solidFill>
        </p:spPr>
        <p:txBody>
          <a:bodyPr wrap="none" lIns="270000" tIns="36000" rIns="108000" bIns="36000" anchor="ctr">
            <a:spAutoFit/>
          </a:bodyPr>
          <a:lstStyle>
            <a:lvl1pPr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/>
              <a:t>Actiontitle </a:t>
            </a: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D0BC21A9-71D7-4025-9C81-B794D3BEF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350A864-2E6F-4831-992C-AE0F86885405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10.10.202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EE144EF6-CE06-4A55-8EE7-DD0603014E8F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/>
          <a:p>
            <a:endParaRPr lang="de-DE">
              <a:noFill/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B0AFDFF4-608D-495E-BFB5-0BAD1B359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/>
              <a:pPr/>
              <a:t>‹Nr.›</a:t>
            </a:fld>
            <a:endParaRPr lang="de-DE" sz="800"/>
          </a:p>
        </p:txBody>
      </p:sp>
    </p:spTree>
    <p:extLst>
      <p:ext uri="{BB962C8B-B14F-4D97-AF65-F5344CB8AC3E}">
        <p14:creationId xmlns:p14="http://schemas.microsoft.com/office/powerpoint/2010/main" val="345856662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4112">
          <p15:clr>
            <a:srgbClr val="FBAE40"/>
          </p15:clr>
        </p15:guide>
        <p15:guide id="3" orient="horz" pos="1071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pos="43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">
            <a:extLst>
              <a:ext uri="{FF2B5EF4-FFF2-40B4-BE49-F238E27FC236}">
                <a16:creationId xmlns:a16="http://schemas.microsoft.com/office/drawing/2014/main" id="{4D901FD7-A05D-4ED8-8285-FAC32D1B272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308213"/>
          </a:xfrm>
          <a:solidFill>
            <a:schemeClr val="bg1">
              <a:lumMod val="95000"/>
            </a:schemeClr>
          </a:solidFill>
        </p:spPr>
        <p:txBody>
          <a:bodyPr tIns="2628000"/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Actiontitle">
            <a:extLst>
              <a:ext uri="{FF2B5EF4-FFF2-40B4-BE49-F238E27FC236}">
                <a16:creationId xmlns:a16="http://schemas.microsoft.com/office/drawing/2014/main" id="{4B1D909E-EB51-44D0-B78E-1F879A59FD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49302"/>
            <a:ext cx="2239572" cy="322515"/>
          </a:xfrm>
          <a:solidFill>
            <a:schemeClr val="accent1"/>
          </a:solidFill>
        </p:spPr>
        <p:txBody>
          <a:bodyPr wrap="none" lIns="270000" tIns="36000" rIns="108000" bIns="36000" anchor="ctr">
            <a:spAutoFit/>
          </a:bodyPr>
          <a:lstStyle>
            <a:lvl1pPr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/>
              <a:t>Actiontitle </a:t>
            </a: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0BE372D3-E2D7-4CA3-BD28-8BE170783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6800"/>
            <a:ext cx="5214538" cy="460502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B45DA122-4D92-4B46-B889-F5534972F954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10.10.2023</a:t>
            </a:fld>
            <a:endParaRPr lang="de-DE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4FFD85F-3124-430F-8D1B-84635A3B1C79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2"/>
            </p:custDataLst>
          </p:nvPr>
        </p:nvSpPr>
        <p:spPr/>
        <p:txBody>
          <a:bodyPr/>
          <a:lstStyle/>
          <a:p>
            <a:endParaRPr lang="de-DE">
              <a:noFill/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E03B11-04F6-4F95-B94E-9614D39308A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42A0C3C-A441-4C3F-B9F1-793D433CF6FE}" type="slidenum">
              <a:rPr lang="de-DE"/>
              <a:pPr/>
              <a:t>‹Nr.›</a:t>
            </a:fld>
            <a:endParaRPr lang="de-DE" sz="800"/>
          </a:p>
        </p:txBody>
      </p:sp>
    </p:spTree>
    <p:extLst>
      <p:ext uri="{BB962C8B-B14F-4D97-AF65-F5344CB8AC3E}">
        <p14:creationId xmlns:p14="http://schemas.microsoft.com/office/powerpoint/2010/main" val="269358583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  <p15:guide id="3" orient="horz" pos="1071">
          <p15:clr>
            <a:srgbClr val="FBAE40"/>
          </p15:clr>
        </p15:guide>
        <p15:guide id="4" orient="horz" pos="39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Bild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">
            <a:extLst>
              <a:ext uri="{FF2B5EF4-FFF2-40B4-BE49-F238E27FC236}">
                <a16:creationId xmlns:a16="http://schemas.microsoft.com/office/drawing/2014/main" id="{4D901FD7-A05D-4ED8-8285-FAC32D1B272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700213"/>
            <a:ext cx="12192000" cy="4608000"/>
          </a:xfrm>
          <a:solidFill>
            <a:schemeClr val="bg1">
              <a:lumMod val="95000"/>
            </a:schemeClr>
          </a:solidFill>
        </p:spPr>
        <p:txBody>
          <a:bodyPr tIns="1800000"/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Actiontitle">
            <a:extLst>
              <a:ext uri="{FF2B5EF4-FFF2-40B4-BE49-F238E27FC236}">
                <a16:creationId xmlns:a16="http://schemas.microsoft.com/office/drawing/2014/main" id="{4B1D909E-EB51-44D0-B78E-1F879A59FD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49302"/>
            <a:ext cx="2239572" cy="322515"/>
          </a:xfrm>
          <a:solidFill>
            <a:schemeClr val="accent1"/>
          </a:solidFill>
        </p:spPr>
        <p:txBody>
          <a:bodyPr wrap="none" lIns="270000" tIns="36000" rIns="108000" bIns="36000" anchor="ctr">
            <a:spAutoFit/>
          </a:bodyPr>
          <a:lstStyle>
            <a:lvl1pPr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/>
              <a:t>Actiontitle </a:t>
            </a:r>
            <a:r>
              <a:rPr lang="de-DE" err="1"/>
              <a:t>goes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0BE372D3-E2D7-4CA3-BD28-8BE170783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6800"/>
            <a:ext cx="5214538" cy="460502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B45DA122-4D92-4B46-B889-F5534972F954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10.10.2023</a:t>
            </a:fld>
            <a:endParaRPr lang="de-DE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4FFD85F-3124-430F-8D1B-84635A3B1C79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2"/>
            </p:custDataLst>
          </p:nvPr>
        </p:nvSpPr>
        <p:spPr/>
        <p:txBody>
          <a:bodyPr/>
          <a:lstStyle/>
          <a:p>
            <a:endParaRPr lang="de-DE">
              <a:noFill/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E03B11-04F6-4F95-B94E-9614D39308A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42A0C3C-A441-4C3F-B9F1-793D433CF6FE}" type="slidenum">
              <a:rPr lang="de-DE"/>
              <a:pPr/>
              <a:t>‹Nr.›</a:t>
            </a:fld>
            <a:endParaRPr lang="de-DE" sz="800"/>
          </a:p>
        </p:txBody>
      </p:sp>
    </p:spTree>
    <p:extLst>
      <p:ext uri="{BB962C8B-B14F-4D97-AF65-F5344CB8AC3E}">
        <p14:creationId xmlns:p14="http://schemas.microsoft.com/office/powerpoint/2010/main" val="398775394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  <p15:guide id="3" orient="horz" pos="1071">
          <p15:clr>
            <a:srgbClr val="FBAE40"/>
          </p15:clr>
        </p15:guide>
        <p15:guide id="4" orient="horz" pos="39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me">
            <a:extLst>
              <a:ext uri="{FF2B5EF4-FFF2-40B4-BE49-F238E27FC236}">
                <a16:creationId xmlns:a16="http://schemas.microsoft.com/office/drawing/2014/main" id="{AFF1DD1A-8606-43C3-8867-FADC225B6C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325" y="6092725"/>
            <a:ext cx="1944000" cy="216000"/>
          </a:xfrm>
        </p:spPr>
        <p:txBody>
          <a:bodyPr wrap="none" anchor="ctr">
            <a:noAutofit/>
          </a:bodyPr>
          <a:lstStyle>
            <a:lvl1pPr>
              <a:buNone/>
              <a:defRPr sz="1000">
                <a:solidFill>
                  <a:schemeClr val="accent3"/>
                </a:solidFill>
              </a:defRPr>
            </a:lvl1pPr>
            <a:lvl2pPr>
              <a:buNone/>
              <a:defRPr sz="1000">
                <a:solidFill>
                  <a:schemeClr val="accent3"/>
                </a:solidFill>
              </a:defRPr>
            </a:lvl2pPr>
            <a:lvl3pPr>
              <a:buNone/>
              <a:defRPr sz="1000">
                <a:solidFill>
                  <a:schemeClr val="accent3"/>
                </a:solidFill>
              </a:defRPr>
            </a:lvl3pPr>
            <a:lvl4pPr>
              <a:buNone/>
              <a:defRPr sz="1000">
                <a:solidFill>
                  <a:schemeClr val="accent3"/>
                </a:solidFill>
              </a:defRPr>
            </a:lvl4pPr>
            <a:lvl5pPr>
              <a:buNone/>
              <a:defRPr sz="10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Name | Position | Company </a:t>
            </a:r>
            <a:r>
              <a:rPr lang="de-DE" err="1"/>
              <a:t>name</a:t>
            </a:r>
            <a:endParaRPr lang="de-DE"/>
          </a:p>
        </p:txBody>
      </p:sp>
      <p:sp>
        <p:nvSpPr>
          <p:cNvPr id="3" name="Quote">
            <a:extLst>
              <a:ext uri="{FF2B5EF4-FFF2-40B4-BE49-F238E27FC236}">
                <a16:creationId xmlns:a16="http://schemas.microsoft.com/office/drawing/2014/main" id="{7FFE724D-2235-40A8-92ED-379CFC3511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5325" y="5408725"/>
            <a:ext cx="10801350" cy="612000"/>
          </a:xfrm>
        </p:spPr>
        <p:txBody>
          <a:bodyPr/>
          <a:lstStyle>
            <a:lvl1pPr>
              <a:buNone/>
              <a:defRPr i="1">
                <a:solidFill>
                  <a:schemeClr val="accent3"/>
                </a:solidFill>
              </a:defRPr>
            </a:lvl1pPr>
            <a:lvl2pPr>
              <a:buNone/>
              <a:defRPr i="1">
                <a:solidFill>
                  <a:schemeClr val="accent3"/>
                </a:solidFill>
              </a:defRPr>
            </a:lvl2pPr>
            <a:lvl3pPr>
              <a:buNone/>
              <a:defRPr i="1">
                <a:solidFill>
                  <a:schemeClr val="accent3"/>
                </a:solidFill>
              </a:defRPr>
            </a:lvl3pPr>
            <a:lvl4pPr>
              <a:buNone/>
              <a:defRPr i="1">
                <a:solidFill>
                  <a:schemeClr val="accent3"/>
                </a:solidFill>
              </a:defRPr>
            </a:lvl4pPr>
            <a:lvl5pPr>
              <a:buNone/>
              <a:defRPr i="1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„Insert </a:t>
            </a:r>
            <a:r>
              <a:rPr lang="de-DE" err="1"/>
              <a:t>customer‘s</a:t>
            </a:r>
            <a:r>
              <a:rPr lang="de-DE"/>
              <a:t> </a:t>
            </a:r>
            <a:r>
              <a:rPr lang="de-DE" err="1"/>
              <a:t>quote</a:t>
            </a:r>
            <a:r>
              <a:rPr lang="de-DE"/>
              <a:t> </a:t>
            </a:r>
            <a:r>
              <a:rPr lang="de-DE" err="1"/>
              <a:t>about</a:t>
            </a:r>
            <a:r>
              <a:rPr lang="de-DE"/>
              <a:t> Alexander Thamm GmbH!“</a:t>
            </a:r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0BE372D3-E2D7-4CA3-BD28-8BE170783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221163"/>
            <a:ext cx="7285826" cy="626701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Bildplatzhalter">
            <a:extLst>
              <a:ext uri="{FF2B5EF4-FFF2-40B4-BE49-F238E27FC236}">
                <a16:creationId xmlns:a16="http://schemas.microsoft.com/office/drawing/2014/main" id="{4D901FD7-A05D-4ED8-8285-FAC32D1B272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4221163"/>
          </a:xfrm>
          <a:solidFill>
            <a:schemeClr val="bg1">
              <a:lumMod val="95000"/>
            </a:schemeClr>
          </a:solidFill>
        </p:spPr>
        <p:txBody>
          <a:bodyPr tIns="1800000"/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B45DA122-4D92-4B46-B889-F5534972F954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10.10.2023</a:t>
            </a:fld>
            <a:endParaRPr lang="de-DE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4FFD85F-3124-430F-8D1B-84635A3B1C79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2"/>
            </p:custDataLst>
          </p:nvPr>
        </p:nvSpPr>
        <p:spPr/>
        <p:txBody>
          <a:bodyPr/>
          <a:lstStyle/>
          <a:p>
            <a:endParaRPr lang="de-DE">
              <a:noFill/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E03B11-04F6-4F95-B94E-9614D39308A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42A0C3C-A441-4C3F-B9F1-793D433CF6FE}" type="slidenum">
              <a:rPr lang="de-DE"/>
              <a:pPr/>
              <a:t>‹Nr.›</a:t>
            </a:fld>
            <a:endParaRPr lang="de-DE" sz="800"/>
          </a:p>
        </p:txBody>
      </p:sp>
    </p:spTree>
    <p:extLst>
      <p:ext uri="{BB962C8B-B14F-4D97-AF65-F5344CB8AC3E}">
        <p14:creationId xmlns:p14="http://schemas.microsoft.com/office/powerpoint/2010/main" val="220217148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orient="horz" pos="397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3CD8C12-179C-4D52-ABCF-697260D17A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6800"/>
            <a:ext cx="5214538" cy="460502"/>
          </a:xfrm>
          <a:prstGeom prst="rect">
            <a:avLst/>
          </a:prstGeom>
          <a:solidFill>
            <a:schemeClr val="tx2"/>
          </a:solidFill>
        </p:spPr>
        <p:txBody>
          <a:bodyPr vert="horz" wrap="none" lIns="270000" tIns="36000" rIns="108000" bIns="36000" rtlCol="0" anchor="ctr">
            <a:sp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AE55903-B4A9-4D8C-B518-1702F86793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6000" y="1699200"/>
            <a:ext cx="10800000" cy="460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2F08E9-A41B-4643-B188-87EC1DEBCFA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">
                <a:noFill/>
              </a:defRPr>
            </a:lvl1pPr>
          </a:lstStyle>
          <a:p>
            <a:fld id="{A47DC638-6E46-49FF-A72E-B879FC48254A}" type="datetimeFigureOut">
              <a:rPr lang="de-DE"/>
              <a:pPr/>
              <a:t>10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4979A8-242D-4347-AAE8-EDC4AA992BEA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BF7279B-D7A4-402B-AA4B-398AFF878B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999" y="6559200"/>
            <a:ext cx="360001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accent3"/>
                </a:solidFill>
              </a:defRPr>
            </a:lvl1pPr>
          </a:lstStyle>
          <a:p>
            <a:fld id="{A42A0C3C-A441-4C3F-B9F1-793D433CF6FE}" type="slidenum">
              <a:rPr lang="de-DE"/>
              <a:pPr/>
              <a:t>‹Nr.›</a:t>
            </a:fld>
            <a:endParaRPr lang="de-DE" sz="800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F66562D5-EB90-4464-A525-5C442734AF90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63799" y="6477563"/>
            <a:ext cx="464403" cy="288801"/>
          </a:xfrm>
          <a:prstGeom prst="rect">
            <a:avLst/>
          </a:prstGeom>
        </p:spPr>
      </p:pic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C2B78AE8-C9D5-487D-8E2A-38D1D3E5467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 algn="ctr">
              <a:lnSpc>
                <a:spcPct val="110000"/>
              </a:lnSpc>
              <a:spcAft>
                <a:spcPts val="200"/>
              </a:spcAft>
            </a:pPr>
            <a:endParaRPr lang="de-DE" sz="1400"/>
          </a:p>
        </p:txBody>
      </p:sp>
    </p:spTree>
    <p:extLst>
      <p:ext uri="{BB962C8B-B14F-4D97-AF65-F5344CB8AC3E}">
        <p14:creationId xmlns:p14="http://schemas.microsoft.com/office/powerpoint/2010/main" val="888864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61" r:id="rId3"/>
    <p:sldLayoutId id="2147483654" r:id="rId4"/>
    <p:sldLayoutId id="2147483650" r:id="rId5"/>
    <p:sldLayoutId id="2147483652" r:id="rId6"/>
    <p:sldLayoutId id="2147483668" r:id="rId7"/>
    <p:sldLayoutId id="2147483662" r:id="rId8"/>
    <p:sldLayoutId id="2147483665" r:id="rId9"/>
    <p:sldLayoutId id="2147483664" r:id="rId10"/>
    <p:sldLayoutId id="2147483666" r:id="rId11"/>
    <p:sldLayoutId id="2147483667" r:id="rId12"/>
    <p:sldLayoutId id="2147483655" r:id="rId13"/>
    <p:sldLayoutId id="2147483778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200"/>
        </a:spcAft>
        <a:buClr>
          <a:schemeClr val="accent6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200"/>
        </a:spcAft>
        <a:buClr>
          <a:schemeClr val="accent6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200"/>
        </a:spcAft>
        <a:buClr>
          <a:schemeClr val="accent6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80975" indent="-180975" algn="l" defTabSz="914400" rtl="0" eaLnBrk="1" latinLnBrk="0" hangingPunct="1">
        <a:lnSpc>
          <a:spcPct val="110000"/>
        </a:lnSpc>
        <a:spcBef>
          <a:spcPts val="0"/>
        </a:spcBef>
        <a:spcAft>
          <a:spcPts val="200"/>
        </a:spcAft>
        <a:buClr>
          <a:schemeClr val="accent6"/>
        </a:buClr>
        <a:buFont typeface="Arial" panose="020B0604020202020204" pitchFamily="34" charset="0"/>
        <a:buChar char="+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0975" indent="-180975" algn="l" defTabSz="914400" rtl="0" eaLnBrk="1" latinLnBrk="0" hangingPunct="1">
        <a:lnSpc>
          <a:spcPct val="110000"/>
        </a:lnSpc>
        <a:spcBef>
          <a:spcPts val="0"/>
        </a:spcBef>
        <a:spcAft>
          <a:spcPts val="200"/>
        </a:spcAft>
        <a:buClr>
          <a:schemeClr val="accent6"/>
        </a:buClr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296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200"/>
        </a:spcAft>
        <a:buClr>
          <a:schemeClr val="accent6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512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200"/>
        </a:spcAft>
        <a:buClr>
          <a:schemeClr val="accent6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728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200"/>
        </a:spcAft>
        <a:buClr>
          <a:schemeClr val="accent6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944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200"/>
        </a:spcAft>
        <a:buClr>
          <a:schemeClr val="accent6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3691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0496A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0496A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0496A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0496A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0496A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0496A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0496A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77774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0496A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0496A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0496A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0496A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0496A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0496A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0496A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77774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0496A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0496A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0496A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0496A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0496A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0496A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0496A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8c_88D0uUts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Schwarzweiß, Natur, Landschaft, draußen enthält.&#10;&#10;Automatisch generierte Beschreibung">
            <a:extLst>
              <a:ext uri="{FF2B5EF4-FFF2-40B4-BE49-F238E27FC236}">
                <a16:creationId xmlns:a16="http://schemas.microsoft.com/office/drawing/2014/main" id="{3D041B6F-67EF-A990-96BC-544E8AE6E0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Grafik 7" descr="Ein Bild, das Schrift, Symbol, Text, Grafiken enthält.&#10;&#10;Automatisch generierte Beschreibung">
            <a:extLst>
              <a:ext uri="{FF2B5EF4-FFF2-40B4-BE49-F238E27FC236}">
                <a16:creationId xmlns:a16="http://schemas.microsoft.com/office/drawing/2014/main" id="{F2AE126E-B0D7-E9C4-299E-CC3B807821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5584" y="241353"/>
            <a:ext cx="2679616" cy="1665952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89DD1218-B9A3-605C-D4DC-9E772CB11CC3}"/>
              </a:ext>
            </a:extLst>
          </p:cNvPr>
          <p:cNvSpPr txBox="1"/>
          <p:nvPr/>
        </p:nvSpPr>
        <p:spPr>
          <a:xfrm>
            <a:off x="2904027" y="5754441"/>
            <a:ext cx="883988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de-DE" sz="1800" dirty="0">
                <a:solidFill>
                  <a:schemeClr val="lt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lexander Zap, Constantin Sanders, Dr. Philipp Schwartenbeck, Brijesh Modasara</a:t>
            </a:r>
          </a:p>
          <a:p>
            <a:pPr algn="r"/>
            <a:r>
              <a:rPr lang="de-DE" dirty="0" err="1">
                <a:solidFill>
                  <a:schemeClr val="accent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Learn</a:t>
            </a:r>
            <a:r>
              <a:rPr lang="de-DE" dirty="0">
                <a:solidFill>
                  <a:schemeClr val="accent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&amp; Code</a:t>
            </a:r>
            <a:r>
              <a:rPr lang="de-DE" sz="1800" dirty="0">
                <a:solidFill>
                  <a:schemeClr val="bg2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dirty="0">
                <a:solidFill>
                  <a:schemeClr val="accent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|</a:t>
            </a:r>
            <a:r>
              <a:rPr lang="de-DE" sz="1800" dirty="0">
                <a:solidFill>
                  <a:schemeClr val="bg2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de-DE" dirty="0">
                <a:solidFill>
                  <a:schemeClr val="accent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10. Oktober | </a:t>
            </a:r>
            <a:r>
              <a:rPr lang="de-DE" sz="1800" dirty="0">
                <a:solidFill>
                  <a:schemeClr val="accent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2023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29F3C0F-1BFF-18D2-BCE4-B27CCE57230F}"/>
              </a:ext>
            </a:extLst>
          </p:cNvPr>
          <p:cNvSpPr/>
          <p:nvPr/>
        </p:nvSpPr>
        <p:spPr>
          <a:xfrm>
            <a:off x="2302057" y="3429000"/>
            <a:ext cx="8168741" cy="1455939"/>
          </a:xfrm>
          <a:prstGeom prst="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17E89849-5509-B602-2504-D5CACB3F4A62}"/>
              </a:ext>
            </a:extLst>
          </p:cNvPr>
          <p:cNvSpPr txBox="1"/>
          <p:nvPr/>
        </p:nvSpPr>
        <p:spPr>
          <a:xfrm>
            <a:off x="2180037" y="3623055"/>
            <a:ext cx="8441532" cy="1323439"/>
          </a:xfrm>
          <a:prstGeom prst="rect">
            <a:avLst/>
          </a:prstGeom>
          <a:noFill/>
          <a:ln w="28575"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de-DE" sz="4000" b="1" dirty="0">
                <a:gradFill>
                  <a:gsLst>
                    <a:gs pos="0">
                      <a:srgbClr val="FF9A41"/>
                    </a:gs>
                    <a:gs pos="100000">
                      <a:srgbClr val="FF3200"/>
                    </a:gs>
                  </a:gsLst>
                  <a:lin ang="3600000" scaled="0"/>
                </a:gradFill>
                <a:latin typeface="Lato"/>
                <a:ea typeface="Lato"/>
                <a:cs typeface="Lato"/>
              </a:rPr>
              <a:t>RL-PROMPT</a:t>
            </a:r>
            <a:br>
              <a:rPr lang="de-DE" sz="4000" b="1" dirty="0">
                <a:gradFill>
                  <a:gsLst>
                    <a:gs pos="0">
                      <a:srgbClr val="FF9A41"/>
                    </a:gs>
                    <a:gs pos="100000">
                      <a:srgbClr val="FF3200"/>
                    </a:gs>
                  </a:gsLst>
                  <a:lin ang="3600000" scaled="0"/>
                </a:gradFill>
                <a:latin typeface="Lato"/>
                <a:ea typeface="Lato"/>
                <a:cs typeface="Lato"/>
              </a:rPr>
            </a:br>
            <a:r>
              <a:rPr lang="de-DE" sz="4000" b="1" dirty="0">
                <a:gradFill>
                  <a:gsLst>
                    <a:gs pos="0">
                      <a:srgbClr val="FF9A41"/>
                    </a:gs>
                    <a:gs pos="100000">
                      <a:srgbClr val="FF3200"/>
                    </a:gs>
                  </a:gsLst>
                  <a:lin ang="3600000" scaled="0"/>
                </a:gradFill>
                <a:latin typeface="Lato"/>
                <a:ea typeface="Lato"/>
                <a:cs typeface="Lato"/>
              </a:rPr>
              <a:t> </a:t>
            </a:r>
            <a:r>
              <a:rPr lang="de-DE" sz="2800" b="1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ROMPT ENGINEERING WITH RL</a:t>
            </a:r>
            <a:endParaRPr lang="de-DE" sz="3600" b="1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69397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10</a:t>
            </a:fld>
            <a:endParaRPr lang="de-DE" sz="8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19B34B6-CA4B-CBF3-A262-C5A0CC528E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6826" y="1140325"/>
            <a:ext cx="9975891" cy="5418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7406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11</a:t>
            </a:fld>
            <a:endParaRPr lang="de-DE" sz="8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1BF5D73-F5ED-2411-0CA0-E3060ACD54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896" y="1152189"/>
            <a:ext cx="10180320" cy="5516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9117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12</a:t>
            </a:fld>
            <a:endParaRPr lang="de-DE" sz="8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0DB8A49-8880-B17F-6DC9-4770223B08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553" y="1084588"/>
            <a:ext cx="9871099" cy="5529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052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13</a:t>
            </a:fld>
            <a:endParaRPr lang="de-DE" sz="8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EC1257D-0F7F-B439-D7F1-FE3FFE8355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472" y="1086061"/>
            <a:ext cx="9802368" cy="5478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9614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14</a:t>
            </a:fld>
            <a:endParaRPr lang="de-DE" sz="8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BF7FDA9-6542-D7BF-414D-8429F7ABAA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3805" y="606280"/>
            <a:ext cx="10484389" cy="5645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3277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15</a:t>
            </a:fld>
            <a:endParaRPr lang="de-DE" sz="8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C847B14-535E-B996-FB8A-34A7582E5D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064" y="987609"/>
            <a:ext cx="9278394" cy="5321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790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16</a:t>
            </a:fld>
            <a:endParaRPr lang="de-DE" sz="8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8430905-B006-7CF2-9565-F7815A7AFB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612" y="1115568"/>
            <a:ext cx="9829361" cy="5461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0505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17</a:t>
            </a:fld>
            <a:endParaRPr lang="de-DE" sz="8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DEEC6A2-FF9D-ACA3-76DB-D64475EBFD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584" y="1058014"/>
            <a:ext cx="9827673" cy="5305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8829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18</a:t>
            </a:fld>
            <a:endParaRPr lang="de-DE" sz="8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A6321C1-9D64-EDBB-F801-7AE08F5E16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231" y="1200980"/>
            <a:ext cx="9067847" cy="5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8826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19</a:t>
            </a:fld>
            <a:endParaRPr lang="de-DE" sz="80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0D20D23-F2EB-9D83-D721-6E5895ED26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656" y="1100107"/>
            <a:ext cx="9140832" cy="495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8998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2</a:t>
            </a:fld>
            <a:endParaRPr lang="de-DE" sz="80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DEEDDFCE-C135-5C8A-7CE4-C235D4B4CB2D}"/>
              </a:ext>
            </a:extLst>
          </p:cNvPr>
          <p:cNvSpPr txBox="1"/>
          <p:nvPr/>
        </p:nvSpPr>
        <p:spPr>
          <a:xfrm>
            <a:off x="839704" y="1075618"/>
            <a:ext cx="1625445" cy="6245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Aft>
                <a:spcPts val="200"/>
              </a:spcAft>
            </a:pPr>
            <a:r>
              <a:rPr lang="de-DE" sz="4000" dirty="0"/>
              <a:t>Quelle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56D4395-1903-C8D5-E5FC-CB6D5742F5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826" y="3288618"/>
            <a:ext cx="7547168" cy="2493764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43659049-8232-5908-C34E-323A564B1B24}"/>
              </a:ext>
            </a:extLst>
          </p:cNvPr>
          <p:cNvSpPr txBox="1"/>
          <p:nvPr/>
        </p:nvSpPr>
        <p:spPr>
          <a:xfrm>
            <a:off x="2465149" y="2544096"/>
            <a:ext cx="60976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>
                <a:hlinkClick r:id="rId3"/>
              </a:rPr>
              <a:t>https://www.youtube.com/watch?v=8c_88D0uUts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42936214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20</a:t>
            </a:fld>
            <a:endParaRPr lang="de-DE" sz="80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0A98ADC-110B-53A4-D194-0E9166D256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487" y="1118396"/>
            <a:ext cx="9125713" cy="4767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7194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21</a:t>
            </a:fld>
            <a:endParaRPr lang="de-DE" sz="80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3DFCE92-1900-DE8F-CBA2-5561821C2B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325" y="1188719"/>
            <a:ext cx="9407617" cy="51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4957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35CF2E-3C9E-9A68-A6CD-C717BBD29E8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22</a:t>
            </a:fld>
            <a:endParaRPr lang="de-DE" sz="8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4A58DF1-030A-AAA5-DF0F-0F49ED9206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5703" y="587229"/>
            <a:ext cx="10560593" cy="5683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67602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23</a:t>
            </a:fld>
            <a:endParaRPr lang="de-DE" sz="8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E1525D5-A0C5-23A6-A3F8-6FB4D69A44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52" y="1166256"/>
            <a:ext cx="7435860" cy="4452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2407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24</a:t>
            </a:fld>
            <a:endParaRPr lang="de-DE" sz="8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6D20B06-7035-8BA1-39DE-4ECFBBEEB7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064" y="1180265"/>
            <a:ext cx="8288576" cy="4497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2230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25</a:t>
            </a:fld>
            <a:endParaRPr lang="de-DE" sz="80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3DE00E4-9E57-2B3B-6D33-CF47F2A5D1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597" y="1127676"/>
            <a:ext cx="8646590" cy="474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5258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26</a:t>
            </a:fld>
            <a:endParaRPr lang="de-DE" sz="8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F3D50B1-D010-02E3-EEE6-50955A182A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325" y="1150938"/>
            <a:ext cx="9255893" cy="5157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6921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27</a:t>
            </a:fld>
            <a:endParaRPr lang="de-DE" sz="8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EBDF114-204E-6DC1-6AAD-81E5E11CA7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717" y="1078420"/>
            <a:ext cx="8192510" cy="4300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38601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28</a:t>
            </a:fld>
            <a:endParaRPr lang="de-DE" sz="8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0B93F9A-52A0-DD41-5944-CE6B314A61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235" y="1151573"/>
            <a:ext cx="9517655" cy="4595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3698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29</a:t>
            </a:fld>
            <a:endParaRPr lang="de-DE" sz="8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4CF4F8C-6D2C-5470-8E9B-4077381891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760" y="1101093"/>
            <a:ext cx="9912096" cy="4697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0692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3</a:t>
            </a:fld>
            <a:endParaRPr lang="de-DE" sz="80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17F1E14-2FBD-1B62-77B3-FD5B0F6F5C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623" y="612364"/>
            <a:ext cx="10631376" cy="6055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57432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30</a:t>
            </a:fld>
            <a:endParaRPr lang="de-DE" sz="8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7B33A39-6DB1-12CC-DE01-3A0AE154D5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624" y="1175966"/>
            <a:ext cx="9668692" cy="471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12812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31</a:t>
            </a:fld>
            <a:endParaRPr lang="de-DE" sz="80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6F63D1C-8F72-CD46-11B2-E7C7AEDB0B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734" y="983196"/>
            <a:ext cx="9509122" cy="5325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20779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32</a:t>
            </a:fld>
            <a:endParaRPr lang="de-DE" sz="80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E867AAE-56D9-CE45-DB89-87AB7C8FC3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006" y="1060704"/>
            <a:ext cx="8678312" cy="3974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657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4</a:t>
            </a:fld>
            <a:endParaRPr lang="de-DE" sz="8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54CBCDF-2018-25BC-128C-54D236123D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4624" y="1116065"/>
            <a:ext cx="9413093" cy="528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5210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5</a:t>
            </a:fld>
            <a:endParaRPr lang="de-DE" sz="8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0FC6574-7D85-2BA7-EAA4-7A4832D186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499" y="1108117"/>
            <a:ext cx="9926282" cy="5310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3721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6</a:t>
            </a:fld>
            <a:endParaRPr lang="de-DE" sz="8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9D975F4-CC70-24F3-DA1A-629B25B4FC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007" y="1038666"/>
            <a:ext cx="9894796" cy="5538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6216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7</a:t>
            </a:fld>
            <a:endParaRPr lang="de-DE" sz="80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BE11D37-0728-29F1-31DD-7D7F93FF79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125" y="1219200"/>
            <a:ext cx="10191628" cy="5557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0751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8</a:t>
            </a:fld>
            <a:endParaRPr lang="de-DE" sz="8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8C7BEC9-0402-9919-E8DC-D1FC1DF17B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151" y="1078992"/>
            <a:ext cx="9779825" cy="5480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123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F69B80-CEF5-51FF-8C52-3839C3940B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 smtClean="0"/>
              <a:pPr/>
              <a:t>9</a:t>
            </a:fld>
            <a:endParaRPr lang="de-DE" sz="8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EADBF35-C92F-4401-0C8B-5AB324BF29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472" y="1162140"/>
            <a:ext cx="10167658" cy="5451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8796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gBAQEBAQEBAQEBAQEBAQIAAAAAAAAAAwAAAAMAAAAA/////wQAPwwAAAAAAAAAAAAAIAD///////////////8AAAD///////////////8DAAAAAw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yV4/uRNvVRPtKOzwAFNGnEFAAAAAAADAAAAAwADAAAAAQADAAAAAAD///////8DAAEA////////BAAAAAMAEAALgBL94TPYYEawmRTTQ9U1d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ALAAAAAAAAAAAAACAB////////////////AAAA////////////////BAAAAAMA////////BAAAAAMA////////BAAAAAM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CAEDAAAAAgD///////8aAAZMaW5rZWRTaGFwZXNEYXRhUHJvcGVydHlfMAUAAAAAAAQAAAADAAQAAAABAAQAAAADAP///////wQAAAADAP///////wQAAAAAAP///////wQAAAAAAP///////wQAAAAAAP///////wQAAAAAAP///////wQAAAAAAP///////wMAAwEDAAAAAwD///////8lAAZMaW5rZWRTaGFwZVByZXNlbnRhdGlvblNldHRpbmdzRGF0YV8wBQAAAAE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CV4/uRNvVRPtKOzwAFNGnEDRGF0YQAbAAAABExpbmtlZFNoYXBlRGF0YQAFAAAAAAACTmFtZQAZAAAATGlua2VkU2hhcGVzRGF0YVByb3BlcnR5ABBWZXJzaW9uAAAAAAAJTGFzdFdyaXRlAKE4tc12AQAAAAEA/////50AnQAAAAVfaWQAEAAAAASAEv3hM9hgRrCZFNND1TV1A0RhdGEAKgAAAAhQcmVzZW50YXRpb25TY2FubmVkRm9yTGlua2VkU2hhcGVzAAEAAk5hbWUAJAAAAExpbmtlZFNoYXBlUHJlc2VudGF0aW9uU2V0dGluZ3NEYXRhABBWZXJzaW9uAAAAAAAJTGFzdFdyaXRlAMU4tc12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PRESENTATION_LANGUAGE" val="1031"/>
  <p:tag name="MIO_VERSION" val="20.01.2021 22:45:2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EKGUID" val="03c2b9a4-b3f1-4270-a1c3-ce026163b2c0"/>
  <p:tag name="MIO_UPDATE" val="True"/>
  <p:tag name="MIO_DBID" val="0F45B44C-9BC7-4D85-81C4-7155EE70A7B9"/>
  <p:tag name="MIO_OBJECTNAME" val="Alexander Thamm 16:9"/>
  <p:tag name="MIO_FALLBACK_LAYOUT" val="4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13"/>
  <p:tag name="MIO_VERSION" val="10.03.2021 16:58:39"/>
  <p:tag name="MIO_SKIPVERSION" val="01.01.0001 00:00:00"/>
  <p:tag name="MIO_LASTDOWNLOADED" val="12.04.2022 11:47:24.102"/>
  <p:tag name="MIO_CDID" val="70b1a660-c825-45a0-835a-999e700cb5d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Alexander Thamm 16:9">
  <a:themeElements>
    <a:clrScheme name="AlexanderThamm">
      <a:dk1>
        <a:sysClr val="windowText" lastClr="000000"/>
      </a:dk1>
      <a:lt1>
        <a:srgbClr val="FFFFFF"/>
      </a:lt1>
      <a:dk2>
        <a:srgbClr val="3B5981"/>
      </a:dk2>
      <a:lt2>
        <a:srgbClr val="E7E7EA"/>
      </a:lt2>
      <a:accent1>
        <a:srgbClr val="8BA1BB"/>
      </a:accent1>
      <a:accent2>
        <a:srgbClr val="FF792B"/>
      </a:accent2>
      <a:accent3>
        <a:srgbClr val="8B8889"/>
      </a:accent3>
      <a:accent4>
        <a:srgbClr val="FF6611"/>
      </a:accent4>
      <a:accent5>
        <a:srgbClr val="738DAD"/>
      </a:accent5>
      <a:accent6>
        <a:srgbClr val="30496A"/>
      </a:accent6>
      <a:hlink>
        <a:srgbClr val="8BA1BB"/>
      </a:hlink>
      <a:folHlink>
        <a:srgbClr val="FF792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>
          <a:lnSpc>
            <a:spcPct val="110000"/>
          </a:lnSpc>
          <a:spcAft>
            <a:spcPts val="200"/>
          </a:spcAft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10000"/>
          </a:lnSpc>
          <a:spcAft>
            <a:spcPts val="200"/>
          </a:spcAft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.pptx" id="{282D1A03-58BF-410C-A4E7-E6C15EA18A12}" vid="{3F578684-5AC0-4664-932D-1525A7432FB3}"/>
    </a:ext>
  </a:extLst>
</a:theme>
</file>

<file path=ppt/theme/theme2.xml><?xml version="1.0" encoding="utf-8"?>
<a:theme xmlns:a="http://schemas.openxmlformats.org/drawingml/2006/main" name="AT Folienmaster">
  <a:themeElements>
    <a:clrScheme name="AT CI">
      <a:dk1>
        <a:sysClr val="windowText" lastClr="000000"/>
      </a:dk1>
      <a:lt1>
        <a:srgbClr val="FFFFFF"/>
      </a:lt1>
      <a:dk2>
        <a:srgbClr val="3B5981"/>
      </a:dk2>
      <a:lt2>
        <a:srgbClr val="E7E7EA"/>
      </a:lt2>
      <a:accent1>
        <a:srgbClr val="8BA1BB"/>
      </a:accent1>
      <a:accent2>
        <a:srgbClr val="FF792B"/>
      </a:accent2>
      <a:accent3>
        <a:srgbClr val="8B8889"/>
      </a:accent3>
      <a:accent4>
        <a:srgbClr val="FF6611"/>
      </a:accent4>
      <a:accent5>
        <a:srgbClr val="738DAD"/>
      </a:accent5>
      <a:accent6>
        <a:srgbClr val="30496A"/>
      </a:accent6>
      <a:hlink>
        <a:srgbClr val="8BA1BB"/>
      </a:hlink>
      <a:folHlink>
        <a:srgbClr val="FF792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2" id="{9CECA51E-81D6-4F23-992E-4CFA77D91920}" vid="{692930AC-54A2-4F33-BA1A-6F4CCB56B6B9}"/>
    </a:ext>
  </a:extLst>
</a:theme>
</file>

<file path=ppt/theme/theme3.xml><?xml version="1.0" encoding="utf-8"?>
<a:theme xmlns:a="http://schemas.openxmlformats.org/drawingml/2006/main" name="1_AT Folienmaster">
  <a:themeElements>
    <a:clrScheme name="AT CI">
      <a:dk1>
        <a:sysClr val="windowText" lastClr="000000"/>
      </a:dk1>
      <a:lt1>
        <a:srgbClr val="FFFFFF"/>
      </a:lt1>
      <a:dk2>
        <a:srgbClr val="3B5981"/>
      </a:dk2>
      <a:lt2>
        <a:srgbClr val="E7E7EA"/>
      </a:lt2>
      <a:accent1>
        <a:srgbClr val="8BA1BB"/>
      </a:accent1>
      <a:accent2>
        <a:srgbClr val="FF792B"/>
      </a:accent2>
      <a:accent3>
        <a:srgbClr val="8B8889"/>
      </a:accent3>
      <a:accent4>
        <a:srgbClr val="FF6611"/>
      </a:accent4>
      <a:accent5>
        <a:srgbClr val="738DAD"/>
      </a:accent5>
      <a:accent6>
        <a:srgbClr val="30496A"/>
      </a:accent6>
      <a:hlink>
        <a:srgbClr val="8BA1BB"/>
      </a:hlink>
      <a:folHlink>
        <a:srgbClr val="FF792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8A77BBDA-A2E7-8F47-BACC-1ACCB86DBAF4}" vid="{4616319F-D489-CA40-852B-8042B6DE1F78}"/>
    </a:ext>
  </a:extLst>
</a:theme>
</file>

<file path=ppt/theme/theme4.xml><?xml version="1.0" encoding="utf-8"?>
<a:theme xmlns:a="http://schemas.openxmlformats.org/drawingml/2006/main" name="1_AT Folienmaster">
  <a:themeElements>
    <a:clrScheme name="AT CI">
      <a:dk1>
        <a:sysClr val="windowText" lastClr="000000"/>
      </a:dk1>
      <a:lt1>
        <a:srgbClr val="FFFFFF"/>
      </a:lt1>
      <a:dk2>
        <a:srgbClr val="3B5981"/>
      </a:dk2>
      <a:lt2>
        <a:srgbClr val="E7E7EA"/>
      </a:lt2>
      <a:accent1>
        <a:srgbClr val="8BA1BB"/>
      </a:accent1>
      <a:accent2>
        <a:srgbClr val="FF792B"/>
      </a:accent2>
      <a:accent3>
        <a:srgbClr val="8B8889"/>
      </a:accent3>
      <a:accent4>
        <a:srgbClr val="FF6611"/>
      </a:accent4>
      <a:accent5>
        <a:srgbClr val="738DAD"/>
      </a:accent5>
      <a:accent6>
        <a:srgbClr val="30496A"/>
      </a:accent6>
      <a:hlink>
        <a:srgbClr val="8BA1BB"/>
      </a:hlink>
      <a:folHlink>
        <a:srgbClr val="FF792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8A77BBDA-A2E7-8F47-BACC-1ACCB86DBAF4}" vid="{4616319F-D489-CA40-852B-8042B6DE1F78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5623D9FDA2C6846982E0385C21BCE2B" ma:contentTypeVersion="11" ma:contentTypeDescription="Ein neues Dokument erstellen." ma:contentTypeScope="" ma:versionID="62cc8fb822eca2904b3163116f5f851f">
  <xsd:schema xmlns:xsd="http://www.w3.org/2001/XMLSchema" xmlns:xs="http://www.w3.org/2001/XMLSchema" xmlns:p="http://schemas.microsoft.com/office/2006/metadata/properties" xmlns:ns2="c815d648-fc7f-46b6-a3c3-0bfc7f7c8b03" xmlns:ns3="1819515d-c421-4e41-85d8-525bd69e6596" targetNamespace="http://schemas.microsoft.com/office/2006/metadata/properties" ma:root="true" ma:fieldsID="a238353bd8014f6c3f0f4c88f7503190" ns2:_="" ns3:_="">
    <xsd:import namespace="c815d648-fc7f-46b6-a3c3-0bfc7f7c8b03"/>
    <xsd:import namespace="1819515d-c421-4e41-85d8-525bd69e659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15d648-fc7f-46b6-a3c3-0bfc7f7c8b0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564ba21f-8c0b-41ee-80e2-94f774598bb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19515d-c421-4e41-85d8-525bd69e6596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ef6808a-ccf3-461f-bf04-e17da350c3bc}" ma:internalName="TaxCatchAll" ma:showField="CatchAllData" ma:web="1819515d-c421-4e41-85d8-525bd69e659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815d648-fc7f-46b6-a3c3-0bfc7f7c8b03">
      <Terms xmlns="http://schemas.microsoft.com/office/infopath/2007/PartnerControls"/>
    </lcf76f155ced4ddcb4097134ff3c332f>
    <TaxCatchAll xmlns="1819515d-c421-4e41-85d8-525bd69e6596" xsi:nil="true"/>
    <SharedWithUsers xmlns="1819515d-c421-4e41-85d8-525bd69e6596">
      <UserInfo>
        <DisplayName>Sirtan Zaefferer</DisplayName>
        <AccountId>18</AccountId>
        <AccountType/>
      </UserInfo>
      <UserInfo>
        <DisplayName>Philipp Beitlich</DisplayName>
        <AccountId>61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B9DD445-EE89-486D-A983-C67A270E62C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815d648-fc7f-46b6-a3c3-0bfc7f7c8b03"/>
    <ds:schemaRef ds:uri="1819515d-c421-4e41-85d8-525bd69e659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49E8695-A005-4D31-B941-A64FE9C02C6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2A7A8F7-0741-4ACD-895E-DB9F45FEF8CA}">
  <ds:schemaRefs>
    <ds:schemaRef ds:uri="http://www.w3.org/XML/1998/namespace"/>
    <ds:schemaRef ds:uri="c815d648-fc7f-46b6-a3c3-0bfc7f7c8b03"/>
    <ds:schemaRef ds:uri="http://schemas.openxmlformats.org/package/2006/metadata/core-properties"/>
    <ds:schemaRef ds:uri="http://purl.org/dc/terms/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1819515d-c421-4e41-85d8-525bd69e6596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9</Words>
  <Application>Microsoft Office PowerPoint</Application>
  <PresentationFormat>Breitbild</PresentationFormat>
  <Paragraphs>39</Paragraphs>
  <Slides>32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Folientitel</vt:lpstr>
      </vt:variant>
      <vt:variant>
        <vt:i4>32</vt:i4>
      </vt:variant>
    </vt:vector>
  </HeadingPairs>
  <TitlesOfParts>
    <vt:vector size="39" baseType="lpstr">
      <vt:lpstr>Arial</vt:lpstr>
      <vt:lpstr>Calibri</vt:lpstr>
      <vt:lpstr>Lato</vt:lpstr>
      <vt:lpstr>Alexander Thamm 16:9</vt:lpstr>
      <vt:lpstr>AT Folienmaster</vt:lpstr>
      <vt:lpstr>1_AT Folienmaster</vt:lpstr>
      <vt:lpstr>1_AT Folienmaster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inforcement Learning</dc:title>
  <dc:creator>Alexander Zap</dc:creator>
  <cp:lastModifiedBy>Alexander Zap</cp:lastModifiedBy>
  <cp:revision>9</cp:revision>
  <dcterms:created xsi:type="dcterms:W3CDTF">2023-05-22T08:29:55Z</dcterms:created>
  <dcterms:modified xsi:type="dcterms:W3CDTF">2023-10-10T05:52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A5623D9FDA2C6846982E0385C21BCE2B</vt:lpwstr>
  </property>
</Properties>
</file>